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3" r:id="rId2"/>
    <p:sldId id="256" r:id="rId3"/>
    <p:sldId id="264" r:id="rId4"/>
    <p:sldId id="265" r:id="rId5"/>
    <p:sldId id="258" r:id="rId6"/>
  </p:sldIdLst>
  <p:sldSz cx="12192000" cy="6858000"/>
  <p:notesSz cx="6858000" cy="9144000"/>
  <p:custDataLst>
    <p:tags r:id="rId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sign Regeln" id="{A2937EA8-C80B-4D25-8585-2E05B9BC4651}">
          <p14:sldIdLst>
            <p14:sldId id="263"/>
          </p14:sldIdLst>
        </p14:section>
        <p14:section name="Präsentation" id="{0E50A418-FEA6-4BCC-822B-0E77E3D60B9A}">
          <p14:sldIdLst>
            <p14:sldId id="256"/>
            <p14:sldId id="264"/>
            <p14:sldId id="265"/>
            <p14:sldId id="25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ADA7B"/>
    <a:srgbClr val="896B10"/>
    <a:srgbClr val="0C3274"/>
    <a:srgbClr val="0C3173"/>
    <a:srgbClr val="F9DB7C"/>
    <a:srgbClr val="FFFFFF"/>
    <a:srgbClr val="001643"/>
    <a:srgbClr val="2929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2F118F-4546-4629-A294-B027944C675F}" v="409" dt="2021-10-27T00:37:42.39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>
    <p:restoredLeft sz="10769" autoAdjust="0"/>
    <p:restoredTop sz="95481" autoAdjust="0"/>
  </p:normalViewPr>
  <p:slideViewPr>
    <p:cSldViewPr snapToGrid="0" showGuides="1">
      <p:cViewPr varScale="1">
        <p:scale>
          <a:sx n="91" d="100"/>
          <a:sy n="91" d="100"/>
        </p:scale>
        <p:origin x="90" y="57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scal Kowolik" userId="37b80ec5c5a1205d" providerId="LiveId" clId="{6D5D4FC7-01FE-426E-95D9-53F93490640B}"/>
    <pc:docChg chg="undo custSel addSld delSld modSld delMainMaster modMainMaster addSection modSection replTag">
      <pc:chgData name="Pascal Kowolik" userId="37b80ec5c5a1205d" providerId="LiveId" clId="{6D5D4FC7-01FE-426E-95D9-53F93490640B}" dt="2021-10-01T00:23:05.271" v="2226" actId="1076"/>
      <pc:docMkLst>
        <pc:docMk/>
      </pc:docMkLst>
      <pc:sldChg chg="new add">
        <pc:chgData name="Pascal Kowolik" userId="37b80ec5c5a1205d" providerId="LiveId" clId="{6D5D4FC7-01FE-426E-95D9-53F93490640B}" dt="2021-09-30T22:57:09.897" v="1752"/>
        <pc:sldMkLst>
          <pc:docMk/>
          <pc:sldMk cId="1841813636" sldId="256"/>
        </pc:sldMkLst>
      </pc:sldChg>
      <pc:sldChg chg="addSp delSp modSp new add del mod">
        <pc:chgData name="Pascal Kowolik" userId="37b80ec5c5a1205d" providerId="LiveId" clId="{6D5D4FC7-01FE-426E-95D9-53F93490640B}" dt="2021-09-30T22:57:04.539" v="1748" actId="2696"/>
        <pc:sldMkLst>
          <pc:docMk/>
          <pc:sldMk cId="3734663058" sldId="256"/>
        </pc:sldMkLst>
        <pc:spChg chg="mod">
          <ac:chgData name="Pascal Kowolik" userId="37b80ec5c5a1205d" providerId="LiveId" clId="{6D5D4FC7-01FE-426E-95D9-53F93490640B}" dt="2021-09-30T22:19:24.490" v="1107" actId="948"/>
          <ac:spMkLst>
            <pc:docMk/>
            <pc:sldMk cId="3734663058" sldId="256"/>
            <ac:spMk id="2" creationId="{6A04EDEA-E5CD-4009-B427-E3348401746B}"/>
          </ac:spMkLst>
        </pc:spChg>
        <pc:spChg chg="add del mod modVis">
          <ac:chgData name="Pascal Kowolik" userId="37b80ec5c5a1205d" providerId="LiveId" clId="{6D5D4FC7-01FE-426E-95D9-53F93490640B}" dt="2021-09-30T21:05:52.260" v="382"/>
          <ac:spMkLst>
            <pc:docMk/>
            <pc:sldMk cId="3734663058" sldId="256"/>
            <ac:spMk id="3" creationId="{19FD4CF9-1836-4BF3-B9AD-7CACFFD43692}"/>
          </ac:spMkLst>
        </pc:spChg>
        <pc:spChg chg="add del mod modVis">
          <ac:chgData name="Pascal Kowolik" userId="37b80ec5c5a1205d" providerId="LiveId" clId="{6D5D4FC7-01FE-426E-95D9-53F93490640B}" dt="2021-09-30T22:16:54.068" v="1061"/>
          <ac:spMkLst>
            <pc:docMk/>
            <pc:sldMk cId="3734663058" sldId="256"/>
            <ac:spMk id="3" creationId="{56DDEA0F-2A58-48DF-8D1D-40F39877F39F}"/>
          </ac:spMkLst>
        </pc:spChg>
        <pc:spChg chg="add del mod modVis">
          <ac:chgData name="Pascal Kowolik" userId="37b80ec5c5a1205d" providerId="LiveId" clId="{6D5D4FC7-01FE-426E-95D9-53F93490640B}" dt="2021-09-30T22:18:58.466" v="1104"/>
          <ac:spMkLst>
            <pc:docMk/>
            <pc:sldMk cId="3734663058" sldId="256"/>
            <ac:spMk id="5" creationId="{4AA4D0B2-6486-4FE6-B334-C6F7738C665A}"/>
          </ac:spMkLst>
        </pc:spChg>
        <pc:spChg chg="add del mod modVis">
          <ac:chgData name="Pascal Kowolik" userId="37b80ec5c5a1205d" providerId="LiveId" clId="{6D5D4FC7-01FE-426E-95D9-53F93490640B}" dt="2021-09-30T21:05:57.424" v="449"/>
          <ac:spMkLst>
            <pc:docMk/>
            <pc:sldMk cId="3734663058" sldId="256"/>
            <ac:spMk id="5" creationId="{C60D57DE-8374-4078-9B30-B36C40EE6B8C}"/>
          </ac:spMkLst>
        </pc:spChg>
        <pc:spChg chg="add del mod modVis">
          <ac:chgData name="Pascal Kowolik" userId="37b80ec5c5a1205d" providerId="LiveId" clId="{6D5D4FC7-01FE-426E-95D9-53F93490640B}" dt="2021-09-30T21:06:07.014" v="507"/>
          <ac:spMkLst>
            <pc:docMk/>
            <pc:sldMk cId="3734663058" sldId="256"/>
            <ac:spMk id="6" creationId="{39F112FA-6A38-4969-8D7C-AA5105474000}"/>
          </ac:spMkLst>
        </pc:spChg>
        <pc:spChg chg="add del mod modVis">
          <ac:chgData name="Pascal Kowolik" userId="37b80ec5c5a1205d" providerId="LiveId" clId="{6D5D4FC7-01FE-426E-95D9-53F93490640B}" dt="2021-09-30T22:19:24.572" v="1147"/>
          <ac:spMkLst>
            <pc:docMk/>
            <pc:sldMk cId="3734663058" sldId="256"/>
            <ac:spMk id="6" creationId="{94C8FB9E-CF40-4831-8660-05D823F9B477}"/>
          </ac:spMkLst>
        </pc:spChg>
        <pc:spChg chg="add del mod modVis">
          <ac:chgData name="Pascal Kowolik" userId="37b80ec5c5a1205d" providerId="LiveId" clId="{6D5D4FC7-01FE-426E-95D9-53F93490640B}" dt="2021-09-30T21:06:14.324" v="558"/>
          <ac:spMkLst>
            <pc:docMk/>
            <pc:sldMk cId="3734663058" sldId="256"/>
            <ac:spMk id="7" creationId="{7375CB9E-77EE-4535-806A-F86923145E6A}"/>
          </ac:spMkLst>
        </pc:spChg>
        <pc:spChg chg="add del mod modVis">
          <ac:chgData name="Pascal Kowolik" userId="37b80ec5c5a1205d" providerId="LiveId" clId="{6D5D4FC7-01FE-426E-95D9-53F93490640B}" dt="2021-09-30T21:06:16.769" v="609"/>
          <ac:spMkLst>
            <pc:docMk/>
            <pc:sldMk cId="3734663058" sldId="256"/>
            <ac:spMk id="8" creationId="{03185765-644E-43B3-982C-84FB600C9A4A}"/>
          </ac:spMkLst>
        </pc:spChg>
        <pc:spChg chg="add mod">
          <ac:chgData name="Pascal Kowolik" userId="37b80ec5c5a1205d" providerId="LiveId" clId="{6D5D4FC7-01FE-426E-95D9-53F93490640B}" dt="2021-09-30T21:40:38.039" v="968" actId="207"/>
          <ac:spMkLst>
            <pc:docMk/>
            <pc:sldMk cId="3734663058" sldId="256"/>
            <ac:spMk id="9" creationId="{8F7F5F91-2353-4039-AA83-6A911474D256}"/>
          </ac:spMkLst>
        </pc:spChg>
        <pc:spChg chg="add mod">
          <ac:chgData name="Pascal Kowolik" userId="37b80ec5c5a1205d" providerId="LiveId" clId="{6D5D4FC7-01FE-426E-95D9-53F93490640B}" dt="2021-09-30T21:40:41.468" v="975"/>
          <ac:spMkLst>
            <pc:docMk/>
            <pc:sldMk cId="3734663058" sldId="256"/>
            <ac:spMk id="10" creationId="{D19F2B11-EF26-4AD0-B64B-239E90A573D6}"/>
          </ac:spMkLst>
        </pc:spChg>
        <pc:spChg chg="mod">
          <ac:chgData name="Pascal Kowolik" userId="37b80ec5c5a1205d" providerId="LiveId" clId="{6D5D4FC7-01FE-426E-95D9-53F93490640B}" dt="2021-09-30T21:19:27.335" v="818" actId="207"/>
          <ac:spMkLst>
            <pc:docMk/>
            <pc:sldMk cId="3734663058" sldId="256"/>
            <ac:spMk id="13" creationId="{C1DCF210-B8BC-45FA-866A-5B3F002EA0EA}"/>
          </ac:spMkLst>
        </pc:spChg>
        <pc:spChg chg="mod">
          <ac:chgData name="Pascal Kowolik" userId="37b80ec5c5a1205d" providerId="LiveId" clId="{6D5D4FC7-01FE-426E-95D9-53F93490640B}" dt="2021-09-30T21:19:30.853" v="819"/>
          <ac:spMkLst>
            <pc:docMk/>
            <pc:sldMk cId="3734663058" sldId="256"/>
            <ac:spMk id="14" creationId="{59569862-EDCA-46CD-91B0-97EAD6A875A3}"/>
          </ac:spMkLst>
        </pc:spChg>
        <pc:spChg chg="mod">
          <ac:chgData name="Pascal Kowolik" userId="37b80ec5c5a1205d" providerId="LiveId" clId="{6D5D4FC7-01FE-426E-95D9-53F93490640B}" dt="2021-09-30T21:39:09.935" v="961" actId="207"/>
          <ac:spMkLst>
            <pc:docMk/>
            <pc:sldMk cId="3734663058" sldId="256"/>
            <ac:spMk id="16" creationId="{2F4CE013-61FF-48A1-9146-C927868A45F2}"/>
          </ac:spMkLst>
        </pc:spChg>
        <pc:spChg chg="mod">
          <ac:chgData name="Pascal Kowolik" userId="37b80ec5c5a1205d" providerId="LiveId" clId="{6D5D4FC7-01FE-426E-95D9-53F93490640B}" dt="2021-09-30T21:39:01.244" v="960" actId="207"/>
          <ac:spMkLst>
            <pc:docMk/>
            <pc:sldMk cId="3734663058" sldId="256"/>
            <ac:spMk id="17" creationId="{2BCDAFB2-DFBA-404B-A596-76A4BFB88351}"/>
          </ac:spMkLst>
        </pc:spChg>
        <pc:spChg chg="mod">
          <ac:chgData name="Pascal Kowolik" userId="37b80ec5c5a1205d" providerId="LiveId" clId="{6D5D4FC7-01FE-426E-95D9-53F93490640B}" dt="2021-09-30T22:14:34.258" v="1020" actId="207"/>
          <ac:spMkLst>
            <pc:docMk/>
            <pc:sldMk cId="3734663058" sldId="256"/>
            <ac:spMk id="19" creationId="{999F1F39-3B0E-4D28-A4D2-4BA957FFC0C5}"/>
          </ac:spMkLst>
        </pc:spChg>
        <pc:spChg chg="mod">
          <ac:chgData name="Pascal Kowolik" userId="37b80ec5c5a1205d" providerId="LiveId" clId="{6D5D4FC7-01FE-426E-95D9-53F93490640B}" dt="2021-09-30T21:36:12.264" v="947"/>
          <ac:spMkLst>
            <pc:docMk/>
            <pc:sldMk cId="3734663058" sldId="256"/>
            <ac:spMk id="20" creationId="{F97E988D-F54C-4113-8703-67ADC59455C6}"/>
          </ac:spMkLst>
        </pc:spChg>
        <pc:spChg chg="add del mod modVis">
          <ac:chgData name="Pascal Kowolik" userId="37b80ec5c5a1205d" providerId="LiveId" clId="{6D5D4FC7-01FE-426E-95D9-53F93490640B}" dt="2021-09-30T21:41:56.710" v="1017"/>
          <ac:spMkLst>
            <pc:docMk/>
            <pc:sldMk cId="3734663058" sldId="256"/>
            <ac:spMk id="21" creationId="{824ACFFA-F069-4890-B913-61C72B4DC5D1}"/>
          </ac:spMkLst>
        </pc:spChg>
        <pc:grpChg chg="add mod">
          <ac:chgData name="Pascal Kowolik" userId="37b80ec5c5a1205d" providerId="LiveId" clId="{6D5D4FC7-01FE-426E-95D9-53F93490640B}" dt="2021-09-30T21:17:45.185" v="774" actId="1076"/>
          <ac:grpSpMkLst>
            <pc:docMk/>
            <pc:sldMk cId="3734663058" sldId="256"/>
            <ac:grpSpMk id="11" creationId="{5E95C3D3-8B5E-4878-B9A8-B56C329A8423}"/>
          </ac:grpSpMkLst>
        </pc:grpChg>
        <pc:grpChg chg="add mod">
          <ac:chgData name="Pascal Kowolik" userId="37b80ec5c5a1205d" providerId="LiveId" clId="{6D5D4FC7-01FE-426E-95D9-53F93490640B}" dt="2021-09-30T21:17:56.812" v="776" actId="1076"/>
          <ac:grpSpMkLst>
            <pc:docMk/>
            <pc:sldMk cId="3734663058" sldId="256"/>
            <ac:grpSpMk id="12" creationId="{11157DD7-3938-4FFE-902B-34050EDD2282}"/>
          </ac:grpSpMkLst>
        </pc:grpChg>
        <pc:grpChg chg="add mod">
          <ac:chgData name="Pascal Kowolik" userId="37b80ec5c5a1205d" providerId="LiveId" clId="{6D5D4FC7-01FE-426E-95D9-53F93490640B}" dt="2021-09-30T21:39:01.244" v="960" actId="207"/>
          <ac:grpSpMkLst>
            <pc:docMk/>
            <pc:sldMk cId="3734663058" sldId="256"/>
            <ac:grpSpMk id="15" creationId="{89D5B3FE-7E29-4D2A-A7A4-16EACB0FDB35}"/>
          </ac:grpSpMkLst>
        </pc:grpChg>
        <pc:grpChg chg="add mod">
          <ac:chgData name="Pascal Kowolik" userId="37b80ec5c5a1205d" providerId="LiveId" clId="{6D5D4FC7-01FE-426E-95D9-53F93490640B}" dt="2021-09-30T21:35:00.307" v="924" actId="1076"/>
          <ac:grpSpMkLst>
            <pc:docMk/>
            <pc:sldMk cId="3734663058" sldId="256"/>
            <ac:grpSpMk id="18" creationId="{6CA7691D-5AE5-41C9-AAF8-2DF601075ACA}"/>
          </ac:grpSpMkLst>
        </pc:grpChg>
        <pc:graphicFrameChg chg="add mod ord modVis replST">
          <ac:chgData name="Pascal Kowolik" userId="37b80ec5c5a1205d" providerId="LiveId" clId="{6D5D4FC7-01FE-426E-95D9-53F93490640B}" dt="2021-09-30T22:19:24.575" v="1149"/>
          <ac:graphicFrameMkLst>
            <pc:docMk/>
            <pc:sldMk cId="3734663058" sldId="256"/>
            <ac:graphicFrameMk id="4" creationId="{E2762FCB-9E52-47C3-B223-CE18C441B8C6}"/>
          </ac:graphicFrameMkLst>
        </pc:graphicFrameChg>
      </pc:sldChg>
      <pc:sldChg chg="modSp del mod">
        <pc:chgData name="Pascal Kowolik" userId="37b80ec5c5a1205d" providerId="LiveId" clId="{6D5D4FC7-01FE-426E-95D9-53F93490640B}" dt="2021-09-30T17:55:29.103" v="334" actId="2696"/>
        <pc:sldMkLst>
          <pc:docMk/>
          <pc:sldMk cId="892255157" sldId="257"/>
        </pc:sldMkLst>
        <pc:spChg chg="mod">
          <ac:chgData name="Pascal Kowolik" userId="37b80ec5c5a1205d" providerId="LiveId" clId="{6D5D4FC7-01FE-426E-95D9-53F93490640B}" dt="2021-09-30T17:52:35.271" v="0" actId="20577"/>
          <ac:spMkLst>
            <pc:docMk/>
            <pc:sldMk cId="892255157" sldId="257"/>
            <ac:spMk id="2" creationId="{6881F031-E451-45E7-8386-9F72249CAC7B}"/>
          </ac:spMkLst>
        </pc:spChg>
        <pc:graphicFrameChg chg="mod">
          <ac:chgData name="Pascal Kowolik" userId="37b80ec5c5a1205d" providerId="LiveId" clId="{6D5D4FC7-01FE-426E-95D9-53F93490640B}" dt="2021-09-30T17:52:35.844" v="3"/>
          <ac:graphicFrameMkLst>
            <pc:docMk/>
            <pc:sldMk cId="892255157" sldId="257"/>
            <ac:graphicFrameMk id="4" creationId="{88FAD462-377F-4C6D-ABF9-878048675B77}"/>
          </ac:graphicFrameMkLst>
        </pc:graphicFrameChg>
      </pc:sldChg>
      <pc:sldChg chg="addSp delSp modSp new add del mod">
        <pc:chgData name="Pascal Kowolik" userId="37b80ec5c5a1205d" providerId="LiveId" clId="{6D5D4FC7-01FE-426E-95D9-53F93490640B}" dt="2021-09-30T22:57:06.019" v="1749" actId="2696"/>
        <pc:sldMkLst>
          <pc:docMk/>
          <pc:sldMk cId="1737127266" sldId="257"/>
        </pc:sldMkLst>
        <pc:spChg chg="add del">
          <ac:chgData name="Pascal Kowolik" userId="37b80ec5c5a1205d" providerId="LiveId" clId="{6D5D4FC7-01FE-426E-95D9-53F93490640B}" dt="2021-09-30T22:33:26.367" v="1329" actId="21"/>
          <ac:spMkLst>
            <pc:docMk/>
            <pc:sldMk cId="1737127266" sldId="257"/>
            <ac:spMk id="3" creationId="{4B9E41DE-791B-4046-A914-AB44F2760F40}"/>
          </ac:spMkLst>
        </pc:spChg>
        <pc:picChg chg="add del mod">
          <ac:chgData name="Pascal Kowolik" userId="37b80ec5c5a1205d" providerId="LiveId" clId="{6D5D4FC7-01FE-426E-95D9-53F93490640B}" dt="2021-09-30T22:33:28.655" v="1330" actId="21"/>
          <ac:picMkLst>
            <pc:docMk/>
            <pc:sldMk cId="1737127266" sldId="257"/>
            <ac:picMk id="5" creationId="{509BE3F2-E349-4E1F-A7C8-BC411299FD80}"/>
          </ac:picMkLst>
        </pc:picChg>
      </pc:sldChg>
      <pc:sldChg chg="new add">
        <pc:chgData name="Pascal Kowolik" userId="37b80ec5c5a1205d" providerId="LiveId" clId="{6D5D4FC7-01FE-426E-95D9-53F93490640B}" dt="2021-09-30T22:57:13.206" v="1754"/>
        <pc:sldMkLst>
          <pc:docMk/>
          <pc:sldMk cId="2562997768" sldId="257"/>
        </pc:sldMkLst>
      </pc:sldChg>
      <pc:sldChg chg="new add del">
        <pc:chgData name="Pascal Kowolik" userId="37b80ec5c5a1205d" providerId="LiveId" clId="{6D5D4FC7-01FE-426E-95D9-53F93490640B}" dt="2021-09-30T22:57:07.310" v="1750" actId="2696"/>
        <pc:sldMkLst>
          <pc:docMk/>
          <pc:sldMk cId="1619631505" sldId="258"/>
        </pc:sldMkLst>
      </pc:sldChg>
      <pc:sldChg chg="modSp add del mod">
        <pc:chgData name="Pascal Kowolik" userId="37b80ec5c5a1205d" providerId="LiveId" clId="{6D5D4FC7-01FE-426E-95D9-53F93490640B}" dt="2021-09-30T17:55:22.638" v="331" actId="2696"/>
        <pc:sldMkLst>
          <pc:docMk/>
          <pc:sldMk cId="2627140777" sldId="258"/>
        </pc:sldMkLst>
        <pc:graphicFrameChg chg="mod">
          <ac:chgData name="Pascal Kowolik" userId="37b80ec5c5a1205d" providerId="LiveId" clId="{6D5D4FC7-01FE-426E-95D9-53F93490640B}" dt="2021-09-30T17:55:17.826" v="330"/>
          <ac:graphicFrameMkLst>
            <pc:docMk/>
            <pc:sldMk cId="2627140777" sldId="258"/>
            <ac:graphicFrameMk id="6" creationId="{CCF9E73A-3CB6-41FA-9D02-A3DA253BEA1F}"/>
          </ac:graphicFrameMkLst>
        </pc:graphicFrameChg>
      </pc:sldChg>
      <pc:sldChg chg="new add">
        <pc:chgData name="Pascal Kowolik" userId="37b80ec5c5a1205d" providerId="LiveId" clId="{6D5D4FC7-01FE-426E-95D9-53F93490640B}" dt="2021-09-30T22:57:15.608" v="1756"/>
        <pc:sldMkLst>
          <pc:docMk/>
          <pc:sldMk cId="3127421898" sldId="258"/>
        </pc:sldMkLst>
      </pc:sldChg>
      <pc:sldChg chg="del">
        <pc:chgData name="Pascal Kowolik" userId="37b80ec5c5a1205d" providerId="LiveId" clId="{6D5D4FC7-01FE-426E-95D9-53F93490640B}" dt="2021-09-30T17:55:28.119" v="333" actId="2696"/>
        <pc:sldMkLst>
          <pc:docMk/>
          <pc:sldMk cId="940909414" sldId="259"/>
        </pc:sldMkLst>
      </pc:sldChg>
      <pc:sldChg chg="new add">
        <pc:chgData name="Pascal Kowolik" userId="37b80ec5c5a1205d" providerId="LiveId" clId="{6D5D4FC7-01FE-426E-95D9-53F93490640B}" dt="2021-09-30T22:57:17.366" v="1758"/>
        <pc:sldMkLst>
          <pc:docMk/>
          <pc:sldMk cId="3746944747" sldId="259"/>
        </pc:sldMkLst>
      </pc:sldChg>
      <pc:sldChg chg="new add">
        <pc:chgData name="Pascal Kowolik" userId="37b80ec5c5a1205d" providerId="LiveId" clId="{6D5D4FC7-01FE-426E-95D9-53F93490640B}" dt="2021-09-30T22:57:21.344" v="1760"/>
        <pc:sldMkLst>
          <pc:docMk/>
          <pc:sldMk cId="3038333881" sldId="260"/>
        </pc:sldMkLst>
      </pc:sldChg>
      <pc:sldChg chg="del">
        <pc:chgData name="Pascal Kowolik" userId="37b80ec5c5a1205d" providerId="LiveId" clId="{6D5D4FC7-01FE-426E-95D9-53F93490640B}" dt="2021-09-30T17:55:26.329" v="332" actId="2696"/>
        <pc:sldMkLst>
          <pc:docMk/>
          <pc:sldMk cId="4210132766" sldId="260"/>
        </pc:sldMkLst>
      </pc:sldChg>
      <pc:sldChg chg="new add">
        <pc:chgData name="Pascal Kowolik" userId="37b80ec5c5a1205d" providerId="LiveId" clId="{6D5D4FC7-01FE-426E-95D9-53F93490640B}" dt="2021-09-30T22:57:22.993" v="1762"/>
        <pc:sldMkLst>
          <pc:docMk/>
          <pc:sldMk cId="3655962547" sldId="261"/>
        </pc:sldMkLst>
      </pc:sldChg>
      <pc:sldChg chg="new add">
        <pc:chgData name="Pascal Kowolik" userId="37b80ec5c5a1205d" providerId="LiveId" clId="{6D5D4FC7-01FE-426E-95D9-53F93490640B}" dt="2021-09-30T22:57:24.754" v="1764"/>
        <pc:sldMkLst>
          <pc:docMk/>
          <pc:sldMk cId="1540689263" sldId="262"/>
        </pc:sldMkLst>
      </pc:sldChg>
      <pc:sldChg chg="addSp delSp modSp new add mod modTransition modShow">
        <pc:chgData name="Pascal Kowolik" userId="37b80ec5c5a1205d" providerId="LiveId" clId="{6D5D4FC7-01FE-426E-95D9-53F93490640B}" dt="2021-09-30T23:03:20.102" v="2064"/>
        <pc:sldMkLst>
          <pc:docMk/>
          <pc:sldMk cId="1666838502" sldId="263"/>
        </pc:sldMkLst>
        <pc:spChg chg="mod">
          <ac:chgData name="Pascal Kowolik" userId="37b80ec5c5a1205d" providerId="LiveId" clId="{6D5D4FC7-01FE-426E-95D9-53F93490640B}" dt="2021-09-30T23:00:32.693" v="1932" actId="948"/>
          <ac:spMkLst>
            <pc:docMk/>
            <pc:sldMk cId="1666838502" sldId="263"/>
            <ac:spMk id="2" creationId="{C59072A0-1E1B-4596-A34D-A551F6206D77}"/>
          </ac:spMkLst>
        </pc:spChg>
        <pc:spChg chg="add del mod modVis">
          <ac:chgData name="Pascal Kowolik" userId="37b80ec5c5a1205d" providerId="LiveId" clId="{6D5D4FC7-01FE-426E-95D9-53F93490640B}" dt="2021-09-30T23:00:19.713" v="1835"/>
          <ac:spMkLst>
            <pc:docMk/>
            <pc:sldMk cId="1666838502" sldId="263"/>
            <ac:spMk id="4" creationId="{43999742-6E31-417C-9E12-BC3197D5F6FD}"/>
          </ac:spMkLst>
        </pc:spChg>
        <pc:spChg chg="add del mod modVis">
          <ac:chgData name="Pascal Kowolik" userId="37b80ec5c5a1205d" providerId="LiveId" clId="{6D5D4FC7-01FE-426E-95D9-53F93490640B}" dt="2021-09-30T23:00:21.240" v="1884"/>
          <ac:spMkLst>
            <pc:docMk/>
            <pc:sldMk cId="1666838502" sldId="263"/>
            <ac:spMk id="5" creationId="{6AF6FAAA-D012-40A0-B31A-95A5E4C5D57F}"/>
          </ac:spMkLst>
        </pc:spChg>
        <pc:spChg chg="add del mod modVis">
          <ac:chgData name="Pascal Kowolik" userId="37b80ec5c5a1205d" providerId="LiveId" clId="{6D5D4FC7-01FE-426E-95D9-53F93490640B}" dt="2021-09-30T23:00:26.772" v="1928"/>
          <ac:spMkLst>
            <pc:docMk/>
            <pc:sldMk cId="1666838502" sldId="263"/>
            <ac:spMk id="6" creationId="{B0EE68B1-0921-4E19-938C-2ADA5754703F}"/>
          </ac:spMkLst>
        </pc:spChg>
        <pc:spChg chg="add del mod modVis">
          <ac:chgData name="Pascal Kowolik" userId="37b80ec5c5a1205d" providerId="LiveId" clId="{6D5D4FC7-01FE-426E-95D9-53F93490640B}" dt="2021-09-30T23:00:32.730" v="1972"/>
          <ac:spMkLst>
            <pc:docMk/>
            <pc:sldMk cId="1666838502" sldId="263"/>
            <ac:spMk id="7" creationId="{63131653-562E-4693-B0E7-9BDC8B16CA0E}"/>
          </ac:spMkLst>
        </pc:spChg>
        <pc:spChg chg="add mod">
          <ac:chgData name="Pascal Kowolik" userId="37b80ec5c5a1205d" providerId="LiveId" clId="{6D5D4FC7-01FE-426E-95D9-53F93490640B}" dt="2021-09-30T23:02:48.482" v="2058" actId="114"/>
          <ac:spMkLst>
            <pc:docMk/>
            <pc:sldMk cId="1666838502" sldId="263"/>
            <ac:spMk id="8" creationId="{06F5B022-4794-430D-BBB4-D185A1AF703F}"/>
          </ac:spMkLst>
        </pc:spChg>
        <pc:graphicFrameChg chg="add mod ord modVis replST">
          <ac:chgData name="Pascal Kowolik" userId="37b80ec5c5a1205d" providerId="LiveId" clId="{6D5D4FC7-01FE-426E-95D9-53F93490640B}" dt="2021-09-30T23:00:32.747" v="1974"/>
          <ac:graphicFrameMkLst>
            <pc:docMk/>
            <pc:sldMk cId="1666838502" sldId="263"/>
            <ac:graphicFrameMk id="3" creationId="{CF9380C1-BF45-440E-8E70-48EB81254808}"/>
          </ac:graphicFrameMkLst>
        </pc:graphicFrameChg>
      </pc:sldChg>
      <pc:sldMasterChg chg="addSp delSp modSp mod delSldLayout modSldLayout sldLayoutOrd">
        <pc:chgData name="Pascal Kowolik" userId="37b80ec5c5a1205d" providerId="LiveId" clId="{6D5D4FC7-01FE-426E-95D9-53F93490640B}" dt="2021-10-01T00:23:05.271" v="2226" actId="1076"/>
        <pc:sldMasterMkLst>
          <pc:docMk/>
          <pc:sldMasterMk cId="2480497422" sldId="2147483660"/>
        </pc:sldMasterMkLst>
        <pc:spChg chg="mod ord">
          <ac:chgData name="Pascal Kowolik" userId="37b80ec5c5a1205d" providerId="LiveId" clId="{6D5D4FC7-01FE-426E-95D9-53F93490640B}" dt="2021-10-01T00:22:15.585" v="2213"/>
          <ac:spMkLst>
            <pc:docMk/>
            <pc:sldMasterMk cId="2480497422" sldId="2147483660"/>
            <ac:spMk id="2" creationId="{91C2C3A4-4D00-49E8-B9A0-D903A5EC985F}"/>
          </ac:spMkLst>
        </pc:spChg>
        <pc:spChg chg="mod ord">
          <ac:chgData name="Pascal Kowolik" userId="37b80ec5c5a1205d" providerId="LiveId" clId="{6D5D4FC7-01FE-426E-95D9-53F93490640B}" dt="2021-10-01T00:22:15.586" v="2215"/>
          <ac:spMkLst>
            <pc:docMk/>
            <pc:sldMasterMk cId="2480497422" sldId="2147483660"/>
            <ac:spMk id="3" creationId="{C23C7792-E4EC-4AC3-B73A-34A741E142D5}"/>
          </ac:spMkLst>
        </pc:spChg>
        <pc:spChg chg="add del mod modVis">
          <ac:chgData name="Pascal Kowolik" userId="37b80ec5c5a1205d" providerId="LiveId" clId="{6D5D4FC7-01FE-426E-95D9-53F93490640B}" dt="2021-10-01T00:21:42.295" v="2137"/>
          <ac:spMkLst>
            <pc:docMk/>
            <pc:sldMasterMk cId="2480497422" sldId="2147483660"/>
            <ac:spMk id="4" creationId="{150087DA-58A1-48E8-B383-C83FF4DA2707}"/>
          </ac:spMkLst>
        </pc:spChg>
        <pc:spChg chg="del">
          <ac:chgData name="Pascal Kowolik" userId="37b80ec5c5a1205d" providerId="LiveId" clId="{6D5D4FC7-01FE-426E-95D9-53F93490640B}" dt="2021-09-30T22:22:25.515" v="1297" actId="21"/>
          <ac:spMkLst>
            <pc:docMk/>
            <pc:sldMasterMk cId="2480497422" sldId="2147483660"/>
            <ac:spMk id="5" creationId="{25126055-DD80-4BED-843A-EC27BE904E74}"/>
          </ac:spMkLst>
        </pc:spChg>
        <pc:spChg chg="del">
          <ac:chgData name="Pascal Kowolik" userId="37b80ec5c5a1205d" providerId="LiveId" clId="{6D5D4FC7-01FE-426E-95D9-53F93490640B}" dt="2021-09-30T22:28:18.870" v="1316" actId="21"/>
          <ac:spMkLst>
            <pc:docMk/>
            <pc:sldMasterMk cId="2480497422" sldId="2147483660"/>
            <ac:spMk id="6" creationId="{CB56F630-25C8-4B53-BB12-87176A408803}"/>
          </ac:spMkLst>
        </pc:spChg>
        <pc:spChg chg="add del mod modVis">
          <ac:chgData name="Pascal Kowolik" userId="37b80ec5c5a1205d" providerId="LiveId" clId="{6D5D4FC7-01FE-426E-95D9-53F93490640B}" dt="2021-09-30T22:35:04.572" v="1509"/>
          <ac:spMkLst>
            <pc:docMk/>
            <pc:sldMasterMk cId="2480497422" sldId="2147483660"/>
            <ac:spMk id="9" creationId="{F1A4DF9E-BA05-417D-98CB-D3119A285E3F}"/>
          </ac:spMkLst>
        </pc:spChg>
        <pc:graphicFrameChg chg="mod">
          <ac:chgData name="Pascal Kowolik" userId="37b80ec5c5a1205d" providerId="LiveId" clId="{6D5D4FC7-01FE-426E-95D9-53F93490640B}" dt="2021-10-01T00:22:15.592" v="2222"/>
          <ac:graphicFrameMkLst>
            <pc:docMk/>
            <pc:sldMasterMk cId="2480497422" sldId="2147483660"/>
            <ac:graphicFrameMk id="8" creationId="{302D7D1B-3C7A-40A6-A354-6235872A294E}"/>
          </ac:graphicFrameMkLst>
        </pc:graphicFrameChg>
        <pc:picChg chg="add mod ord">
          <ac:chgData name="Pascal Kowolik" userId="37b80ec5c5a1205d" providerId="LiveId" clId="{6D5D4FC7-01FE-426E-95D9-53F93490640B}" dt="2021-10-01T00:23:05.271" v="2226" actId="1076"/>
          <ac:picMkLst>
            <pc:docMk/>
            <pc:sldMasterMk cId="2480497422" sldId="2147483660"/>
            <ac:picMk id="6" creationId="{7BFA6E0D-4D60-4DEE-A8DD-83FB07EE2B91}"/>
          </ac:picMkLst>
        </pc:picChg>
        <pc:picChg chg="add mod ord">
          <ac:chgData name="Pascal Kowolik" userId="37b80ec5c5a1205d" providerId="LiveId" clId="{6D5D4FC7-01FE-426E-95D9-53F93490640B}" dt="2021-10-01T00:22:15.586" v="2217"/>
          <ac:picMkLst>
            <pc:docMk/>
            <pc:sldMasterMk cId="2480497422" sldId="2147483660"/>
            <ac:picMk id="7" creationId="{6BA16206-C95E-4579-926C-E1663D593A59}"/>
          </ac:picMkLst>
        </pc:picChg>
        <pc:sldLayoutChg chg="addSp delSp modSp mod ord setBg">
          <pc:chgData name="Pascal Kowolik" userId="37b80ec5c5a1205d" providerId="LiveId" clId="{6D5D4FC7-01FE-426E-95D9-53F93490640B}" dt="2021-09-30T22:51:56.373" v="1738"/>
          <pc:sldLayoutMkLst>
            <pc:docMk/>
            <pc:sldMasterMk cId="2480497422" sldId="2147483660"/>
            <pc:sldLayoutMk cId="3627172429" sldId="2147483661"/>
          </pc:sldLayoutMkLst>
          <pc:spChg chg="del mod ord">
            <ac:chgData name="Pascal Kowolik" userId="37b80ec5c5a1205d" providerId="LiveId" clId="{6D5D4FC7-01FE-426E-95D9-53F93490640B}" dt="2021-09-30T22:51:49.082" v="1734" actId="21"/>
            <ac:spMkLst>
              <pc:docMk/>
              <pc:sldMasterMk cId="2480497422" sldId="2147483660"/>
              <pc:sldLayoutMk cId="3627172429" sldId="2147483661"/>
              <ac:spMk id="2" creationId="{58EB7ECD-34B2-46F7-85F1-F41486D260AD}"/>
            </ac:spMkLst>
          </pc:spChg>
          <pc:spChg chg="add del mod modVis">
            <ac:chgData name="Pascal Kowolik" userId="37b80ec5c5a1205d" providerId="LiveId" clId="{6D5D4FC7-01FE-426E-95D9-53F93490640B}" dt="2021-09-30T22:20:30.696" v="1204"/>
            <ac:spMkLst>
              <pc:docMk/>
              <pc:sldMasterMk cId="2480497422" sldId="2147483660"/>
              <pc:sldLayoutMk cId="3627172429" sldId="2147483661"/>
              <ac:spMk id="3" creationId="{4CD51CFE-C3C4-4339-AA7F-9BA07F0B6AA4}"/>
            </ac:spMkLst>
          </pc:spChg>
          <pc:spChg chg="add del mod modVis">
            <ac:chgData name="Pascal Kowolik" userId="37b80ec5c5a1205d" providerId="LiveId" clId="{6D5D4FC7-01FE-426E-95D9-53F93490640B}" dt="2021-09-30T17:53:55.402" v="48"/>
            <ac:spMkLst>
              <pc:docMk/>
              <pc:sldMasterMk cId="2480497422" sldId="2147483660"/>
              <pc:sldLayoutMk cId="3627172429" sldId="2147483661"/>
              <ac:spMk id="3" creationId="{FF38B7C8-D678-4524-8344-71B99E39CEC6}"/>
            </ac:spMkLst>
          </pc:spChg>
          <pc:spChg chg="add del mod modVis">
            <ac:chgData name="Pascal Kowolik" userId="37b80ec5c5a1205d" providerId="LiveId" clId="{6D5D4FC7-01FE-426E-95D9-53F93490640B}" dt="2021-09-30T17:54:07.470" v="140"/>
            <ac:spMkLst>
              <pc:docMk/>
              <pc:sldMasterMk cId="2480497422" sldId="2147483660"/>
              <pc:sldLayoutMk cId="3627172429" sldId="2147483661"/>
              <ac:spMk id="4" creationId="{38E0E0A1-E5D5-4615-80F8-7DAB8CCFF8DE}"/>
            </ac:spMkLst>
          </pc:spChg>
          <pc:spChg chg="add del mod modVis">
            <ac:chgData name="Pascal Kowolik" userId="37b80ec5c5a1205d" providerId="LiveId" clId="{6D5D4FC7-01FE-426E-95D9-53F93490640B}" dt="2021-09-30T22:20:33.490" v="1248"/>
            <ac:spMkLst>
              <pc:docMk/>
              <pc:sldMasterMk cId="2480497422" sldId="2147483660"/>
              <pc:sldLayoutMk cId="3627172429" sldId="2147483661"/>
              <ac:spMk id="4" creationId="{9F4AAE8E-5C3B-4DC7-A87E-6AB132B98AFD}"/>
            </ac:spMkLst>
          </pc:spChg>
          <pc:spChg chg="add del mod modVis">
            <ac:chgData name="Pascal Kowolik" userId="37b80ec5c5a1205d" providerId="LiveId" clId="{6D5D4FC7-01FE-426E-95D9-53F93490640B}" dt="2021-09-30T22:20:42.069" v="1292"/>
            <ac:spMkLst>
              <pc:docMk/>
              <pc:sldMasterMk cId="2480497422" sldId="2147483660"/>
              <pc:sldLayoutMk cId="3627172429" sldId="2147483661"/>
              <ac:spMk id="5" creationId="{18485FE2-69E2-42A0-90CA-1960CCF5878D}"/>
            </ac:spMkLst>
          </pc:spChg>
          <pc:spChg chg="add del mod modVis">
            <ac:chgData name="Pascal Kowolik" userId="37b80ec5c5a1205d" providerId="LiveId" clId="{6D5D4FC7-01FE-426E-95D9-53F93490640B}" dt="2021-09-30T17:54:08.285" v="185"/>
            <ac:spMkLst>
              <pc:docMk/>
              <pc:sldMasterMk cId="2480497422" sldId="2147483660"/>
              <pc:sldLayoutMk cId="3627172429" sldId="2147483661"/>
              <ac:spMk id="5" creationId="{89B9B91C-CBC8-4C09-9C32-5D8A373CC49B}"/>
            </ac:spMkLst>
          </pc:spChg>
          <pc:spChg chg="del">
            <ac:chgData name="Pascal Kowolik" userId="37b80ec5c5a1205d" providerId="LiveId" clId="{6D5D4FC7-01FE-426E-95D9-53F93490640B}" dt="2021-09-30T22:31:16.062" v="1322" actId="21"/>
            <ac:spMkLst>
              <pc:docMk/>
              <pc:sldMasterMk cId="2480497422" sldId="2147483660"/>
              <pc:sldLayoutMk cId="3627172429" sldId="2147483661"/>
              <ac:spMk id="6" creationId="{CEEC28D8-0503-4195-B212-DCBA5C8E6710}"/>
            </ac:spMkLst>
          </pc:spChg>
          <pc:spChg chg="add del mod ord">
            <ac:chgData name="Pascal Kowolik" userId="37b80ec5c5a1205d" providerId="LiveId" clId="{6D5D4FC7-01FE-426E-95D9-53F93490640B}" dt="2021-09-30T22:35:09.340" v="1513" actId="21"/>
            <ac:spMkLst>
              <pc:docMk/>
              <pc:sldMasterMk cId="2480497422" sldId="2147483660"/>
              <pc:sldLayoutMk cId="3627172429" sldId="2147483661"/>
              <ac:spMk id="7" creationId="{1A481AC5-8C47-4703-B8C6-628C8A960CE5}"/>
            </ac:spMkLst>
          </pc:spChg>
          <pc:spChg chg="add del mod modVis">
            <ac:chgData name="Pascal Kowolik" userId="37b80ec5c5a1205d" providerId="LiveId" clId="{6D5D4FC7-01FE-426E-95D9-53F93490640B}" dt="2021-09-30T17:54:09.235" v="231"/>
            <ac:spMkLst>
              <pc:docMk/>
              <pc:sldMasterMk cId="2480497422" sldId="2147483660"/>
              <pc:sldLayoutMk cId="3627172429" sldId="2147483661"/>
              <ac:spMk id="7" creationId="{B8F4EB0D-4845-428D-BB67-E9BA2D326994}"/>
            </ac:spMkLst>
          </pc:spChg>
          <pc:spChg chg="add mod">
            <ac:chgData name="Pascal Kowolik" userId="37b80ec5c5a1205d" providerId="LiveId" clId="{6D5D4FC7-01FE-426E-95D9-53F93490640B}" dt="2021-09-30T22:35:36.677" v="1515" actId="2085"/>
            <ac:spMkLst>
              <pc:docMk/>
              <pc:sldMasterMk cId="2480497422" sldId="2147483660"/>
              <pc:sldLayoutMk cId="3627172429" sldId="2147483661"/>
              <ac:spMk id="9" creationId="{072CF3C1-FD9F-439C-9116-60286333C1AF}"/>
            </ac:spMkLst>
          </pc:spChg>
          <pc:spChg chg="add del mod modVis">
            <ac:chgData name="Pascal Kowolik" userId="37b80ec5c5a1205d" providerId="LiveId" clId="{6D5D4FC7-01FE-426E-95D9-53F93490640B}" dt="2021-09-30T17:54:10.230" v="275"/>
            <ac:spMkLst>
              <pc:docMk/>
              <pc:sldMasterMk cId="2480497422" sldId="2147483660"/>
              <pc:sldLayoutMk cId="3627172429" sldId="2147483661"/>
              <ac:spMk id="9" creationId="{FFCB2811-203A-4C2E-BB08-DAD8ECEC0C3C}"/>
            </ac:spMkLst>
          </pc:spChg>
          <pc:spChg chg="add del mod modVis">
            <ac:chgData name="Pascal Kowolik" userId="37b80ec5c5a1205d" providerId="LiveId" clId="{6D5D4FC7-01FE-426E-95D9-53F93490640B}" dt="2021-09-30T17:54:16.337" v="319"/>
            <ac:spMkLst>
              <pc:docMk/>
              <pc:sldMasterMk cId="2480497422" sldId="2147483660"/>
              <pc:sldLayoutMk cId="3627172429" sldId="2147483661"/>
              <ac:spMk id="10" creationId="{01FDCE89-C5B9-4F66-9990-93AF496D87A9}"/>
            </ac:spMkLst>
          </pc:spChg>
          <pc:spChg chg="add del mod modVis">
            <ac:chgData name="Pascal Kowolik" userId="37b80ec5c5a1205d" providerId="LiveId" clId="{6D5D4FC7-01FE-426E-95D9-53F93490640B}" dt="2021-09-30T22:51:38.052" v="1687"/>
            <ac:spMkLst>
              <pc:docMk/>
              <pc:sldMasterMk cId="2480497422" sldId="2147483660"/>
              <pc:sldLayoutMk cId="3627172429" sldId="2147483661"/>
              <ac:spMk id="10" creationId="{DCAB9E87-AA10-42A8-B475-CAAA5D8C02A3}"/>
            </ac:spMkLst>
          </pc:spChg>
          <pc:spChg chg="add del mod modVis">
            <ac:chgData name="Pascal Kowolik" userId="37b80ec5c5a1205d" providerId="LiveId" clId="{6D5D4FC7-01FE-426E-95D9-53F93490640B}" dt="2021-09-30T22:51:40.653" v="1731"/>
            <ac:spMkLst>
              <pc:docMk/>
              <pc:sldMasterMk cId="2480497422" sldId="2147483660"/>
              <pc:sldLayoutMk cId="3627172429" sldId="2147483661"/>
              <ac:spMk id="11" creationId="{25F9496E-BACC-4461-8605-9AD8F44A089F}"/>
            </ac:spMkLst>
          </pc:spChg>
          <pc:spChg chg="add mod">
            <ac:chgData name="Pascal Kowolik" userId="37b80ec5c5a1205d" providerId="LiveId" clId="{6D5D4FC7-01FE-426E-95D9-53F93490640B}" dt="2021-09-30T22:51:56.373" v="1738"/>
            <ac:spMkLst>
              <pc:docMk/>
              <pc:sldMasterMk cId="2480497422" sldId="2147483660"/>
              <pc:sldLayoutMk cId="3627172429" sldId="2147483661"/>
              <ac:spMk id="12" creationId="{6D50BE63-2682-420A-82FF-09ECCDC125A6}"/>
            </ac:spMkLst>
          </pc:spChg>
          <pc:graphicFrameChg chg="mod">
            <ac:chgData name="Pascal Kowolik" userId="37b80ec5c5a1205d" providerId="LiveId" clId="{6D5D4FC7-01FE-426E-95D9-53F93490640B}" dt="2021-09-30T22:51:49.603" v="1737"/>
            <ac:graphicFrameMkLst>
              <pc:docMk/>
              <pc:sldMasterMk cId="2480497422" sldId="2147483660"/>
              <pc:sldLayoutMk cId="3627172429" sldId="2147483661"/>
              <ac:graphicFrameMk id="8" creationId="{836BEFCF-1B8A-41B6-8BA7-6406A20C7E88}"/>
            </ac:graphicFrameMkLst>
          </pc:graphicFrameChg>
        </pc:sldLayoutChg>
        <pc:sldLayoutChg chg="addSp delSp modSp mod">
          <pc:chgData name="Pascal Kowolik" userId="37b80ec5c5a1205d" providerId="LiveId" clId="{6D5D4FC7-01FE-426E-95D9-53F93490640B}" dt="2021-10-01T00:19:16.489" v="2082" actId="21"/>
          <pc:sldLayoutMkLst>
            <pc:docMk/>
            <pc:sldMasterMk cId="2480497422" sldId="2147483660"/>
            <pc:sldLayoutMk cId="56629427" sldId="2147483662"/>
          </pc:sldLayoutMkLst>
          <pc:spChg chg="del">
            <ac:chgData name="Pascal Kowolik" userId="37b80ec5c5a1205d" providerId="LiveId" clId="{6D5D4FC7-01FE-426E-95D9-53F93490640B}" dt="2021-09-30T22:22:30.580" v="1298" actId="21"/>
            <ac:spMkLst>
              <pc:docMk/>
              <pc:sldMasterMk cId="2480497422" sldId="2147483660"/>
              <pc:sldLayoutMk cId="56629427" sldId="2147483662"/>
              <ac:spMk id="5" creationId="{797C59C7-B2BF-47A8-BFAE-75033683DE3E}"/>
            </ac:spMkLst>
          </pc:spChg>
          <pc:spChg chg="del">
            <ac:chgData name="Pascal Kowolik" userId="37b80ec5c5a1205d" providerId="LiveId" clId="{6D5D4FC7-01FE-426E-95D9-53F93490640B}" dt="2021-09-30T22:31:19.817" v="1323" actId="21"/>
            <ac:spMkLst>
              <pc:docMk/>
              <pc:sldMasterMk cId="2480497422" sldId="2147483660"/>
              <pc:sldLayoutMk cId="56629427" sldId="2147483662"/>
              <ac:spMk id="6" creationId="{34B3F1F8-609E-41D7-ABE4-D1FCB6988976}"/>
            </ac:spMkLst>
          </pc:spChg>
          <pc:spChg chg="del">
            <ac:chgData name="Pascal Kowolik" userId="37b80ec5c5a1205d" providerId="LiveId" clId="{6D5D4FC7-01FE-426E-95D9-53F93490640B}" dt="2021-09-30T17:53:20.186" v="5" actId="21"/>
            <ac:spMkLst>
              <pc:docMk/>
              <pc:sldMasterMk cId="2480497422" sldId="2147483660"/>
              <pc:sldLayoutMk cId="56629427" sldId="2147483662"/>
              <ac:spMk id="13" creationId="{333DA4F5-1DBD-4068-A069-04759C8A9388}"/>
            </ac:spMkLst>
          </pc:spChg>
          <pc:picChg chg="add del mod">
            <ac:chgData name="Pascal Kowolik" userId="37b80ec5c5a1205d" providerId="LiveId" clId="{6D5D4FC7-01FE-426E-95D9-53F93490640B}" dt="2021-10-01T00:18:46.926" v="2072" actId="21"/>
            <ac:picMkLst>
              <pc:docMk/>
              <pc:sldMasterMk cId="2480497422" sldId="2147483660"/>
              <pc:sldLayoutMk cId="56629427" sldId="2147483662"/>
              <ac:picMk id="4" creationId="{747E2A39-443D-4531-82BF-315056089165}"/>
            </ac:picMkLst>
          </pc:picChg>
          <pc:picChg chg="add del mod">
            <ac:chgData name="Pascal Kowolik" userId="37b80ec5c5a1205d" providerId="LiveId" clId="{6D5D4FC7-01FE-426E-95D9-53F93490640B}" dt="2021-10-01T00:19:16.489" v="2082" actId="21"/>
            <ac:picMkLst>
              <pc:docMk/>
              <pc:sldMasterMk cId="2480497422" sldId="2147483660"/>
              <pc:sldLayoutMk cId="56629427" sldId="2147483662"/>
              <ac:picMk id="6" creationId="{A366688F-E83D-4885-B1D3-AC0C7371F72E}"/>
            </ac:picMkLst>
          </pc:picChg>
        </pc:sldLayoutChg>
        <pc:sldLayoutChg chg="delSp modSp mod setBg">
          <pc:chgData name="Pascal Kowolik" userId="37b80ec5c5a1205d" providerId="LiveId" clId="{6D5D4FC7-01FE-426E-95D9-53F93490640B}" dt="2021-09-30T22:50:51.048" v="1640" actId="6014"/>
          <pc:sldLayoutMkLst>
            <pc:docMk/>
            <pc:sldMasterMk cId="2480497422" sldId="2147483660"/>
            <pc:sldLayoutMk cId="3430940410" sldId="2147483663"/>
          </pc:sldLayoutMkLst>
          <pc:spChg chg="mod">
            <ac:chgData name="Pascal Kowolik" userId="37b80ec5c5a1205d" providerId="LiveId" clId="{6D5D4FC7-01FE-426E-95D9-53F93490640B}" dt="2021-09-30T22:20:24.510" v="1159" actId="1076"/>
            <ac:spMkLst>
              <pc:docMk/>
              <pc:sldMasterMk cId="2480497422" sldId="2147483660"/>
              <pc:sldLayoutMk cId="3430940410" sldId="2147483663"/>
              <ac:spMk id="2" creationId="{58EB7ECD-34B2-46F7-85F1-F41486D260AD}"/>
            </ac:spMkLst>
          </pc:spChg>
          <pc:spChg chg="del">
            <ac:chgData name="Pascal Kowolik" userId="37b80ec5c5a1205d" providerId="LiveId" clId="{6D5D4FC7-01FE-426E-95D9-53F93490640B}" dt="2021-09-30T22:31:26.517" v="1325" actId="21"/>
            <ac:spMkLst>
              <pc:docMk/>
              <pc:sldMasterMk cId="2480497422" sldId="2147483660"/>
              <pc:sldLayoutMk cId="3430940410" sldId="2147483663"/>
              <ac:spMk id="6" creationId="{CEEC28D8-0503-4195-B212-DCBA5C8E6710}"/>
            </ac:spMkLst>
          </pc:spChg>
          <pc:spChg chg="del">
            <ac:chgData name="Pascal Kowolik" userId="37b80ec5c5a1205d" providerId="LiveId" clId="{6D5D4FC7-01FE-426E-95D9-53F93490640B}" dt="2021-09-30T17:53:35.912" v="6" actId="21"/>
            <ac:spMkLst>
              <pc:docMk/>
              <pc:sldMasterMk cId="2480497422" sldId="2147483660"/>
              <pc:sldLayoutMk cId="3430940410" sldId="2147483663"/>
              <ac:spMk id="12" creationId="{9A3F8FAA-766A-4CDF-9814-39F242960816}"/>
            </ac:spMkLst>
          </pc:spChg>
          <pc:graphicFrameChg chg="mod">
            <ac:chgData name="Pascal Kowolik" userId="37b80ec5c5a1205d" providerId="LiveId" clId="{6D5D4FC7-01FE-426E-95D9-53F93490640B}" dt="2021-09-30T22:20:25.010" v="1162"/>
            <ac:graphicFrameMkLst>
              <pc:docMk/>
              <pc:sldMasterMk cId="2480497422" sldId="2147483660"/>
              <pc:sldLayoutMk cId="3430940410" sldId="2147483663"/>
              <ac:graphicFrameMk id="7" creationId="{9973D0FA-8D89-4772-B016-187021F3EABF}"/>
            </ac:graphicFrameMkLst>
          </pc:graphicFrameChg>
        </pc:sldLayoutChg>
        <pc:sldLayoutChg chg="ord">
          <pc:chgData name="Pascal Kowolik" userId="37b80ec5c5a1205d" providerId="LiveId" clId="{6D5D4FC7-01FE-426E-95D9-53F93490640B}" dt="2021-09-30T22:34:23.694" v="1386" actId="20578"/>
          <pc:sldLayoutMkLst>
            <pc:docMk/>
            <pc:sldMasterMk cId="2480497422" sldId="2147483660"/>
            <pc:sldLayoutMk cId="1178816264" sldId="2147483664"/>
          </pc:sldLayoutMkLst>
        </pc:sldLayoutChg>
        <pc:sldLayoutChg chg="addSp delSp modSp mod ord setBg">
          <pc:chgData name="Pascal Kowolik" userId="37b80ec5c5a1205d" providerId="LiveId" clId="{6D5D4FC7-01FE-426E-95D9-53F93490640B}" dt="2021-10-01T00:22:04.339" v="2210"/>
          <pc:sldLayoutMkLst>
            <pc:docMk/>
            <pc:sldMasterMk cId="2480497422" sldId="2147483660"/>
            <pc:sldLayoutMk cId="1618054920" sldId="2147483665"/>
          </pc:sldLayoutMkLst>
          <pc:spChg chg="mod ord">
            <ac:chgData name="Pascal Kowolik" userId="37b80ec5c5a1205d" providerId="LiveId" clId="{6D5D4FC7-01FE-426E-95D9-53F93490640B}" dt="2021-10-01T00:22:04.327" v="2207"/>
            <ac:spMkLst>
              <pc:docMk/>
              <pc:sldMasterMk cId="2480497422" sldId="2147483660"/>
              <pc:sldLayoutMk cId="1618054920" sldId="2147483665"/>
              <ac:spMk id="2" creationId="{CC6395B5-E2CB-4953-A43A-F7E01D285F3C}"/>
            </ac:spMkLst>
          </pc:spChg>
          <pc:spChg chg="add del">
            <ac:chgData name="Pascal Kowolik" userId="37b80ec5c5a1205d" providerId="LiveId" clId="{6D5D4FC7-01FE-426E-95D9-53F93490640B}" dt="2021-09-30T22:23:49.944" v="1303" actId="11529"/>
            <ac:spMkLst>
              <pc:docMk/>
              <pc:sldMasterMk cId="2480497422" sldId="2147483660"/>
              <pc:sldLayoutMk cId="1618054920" sldId="2147483665"/>
              <ac:spMk id="3" creationId="{7290B7D5-74CD-4F03-803D-29EB6CA58796}"/>
            </ac:spMkLst>
          </pc:spChg>
          <pc:spChg chg="add del mod modVis">
            <ac:chgData name="Pascal Kowolik" userId="37b80ec5c5a1205d" providerId="LiveId" clId="{6D5D4FC7-01FE-426E-95D9-53F93490640B}" dt="2021-10-01T00:21:59.901" v="2198"/>
            <ac:spMkLst>
              <pc:docMk/>
              <pc:sldMasterMk cId="2480497422" sldId="2147483660"/>
              <pc:sldLayoutMk cId="1618054920" sldId="2147483665"/>
              <ac:spMk id="3" creationId="{BE0BD90D-D319-49F1-83A4-DB024FCF0FEA}"/>
            </ac:spMkLst>
          </pc:spChg>
          <pc:spChg chg="add del">
            <ac:chgData name="Pascal Kowolik" userId="37b80ec5c5a1205d" providerId="LiveId" clId="{6D5D4FC7-01FE-426E-95D9-53F93490640B}" dt="2021-09-30T22:24:34.983" v="1305" actId="11529"/>
            <ac:spMkLst>
              <pc:docMk/>
              <pc:sldMasterMk cId="2480497422" sldId="2147483660"/>
              <pc:sldLayoutMk cId="1618054920" sldId="2147483665"/>
              <ac:spMk id="4" creationId="{CC5ABC39-2E0D-43C1-BD68-3F72EDF79090}"/>
            </ac:spMkLst>
          </pc:spChg>
          <pc:spChg chg="del">
            <ac:chgData name="Pascal Kowolik" userId="37b80ec5c5a1205d" providerId="LiveId" clId="{6D5D4FC7-01FE-426E-95D9-53F93490640B}" dt="2021-09-30T22:22:39.774" v="1299" actId="21"/>
            <ac:spMkLst>
              <pc:docMk/>
              <pc:sldMasterMk cId="2480497422" sldId="2147483660"/>
              <pc:sldLayoutMk cId="1618054920" sldId="2147483665"/>
              <ac:spMk id="5" creationId="{797C59C7-B2BF-47A8-BFAE-75033683DE3E}"/>
            </ac:spMkLst>
          </pc:spChg>
          <pc:spChg chg="del">
            <ac:chgData name="Pascal Kowolik" userId="37b80ec5c5a1205d" providerId="LiveId" clId="{6D5D4FC7-01FE-426E-95D9-53F93490640B}" dt="2021-09-30T22:31:23.172" v="1324" actId="21"/>
            <ac:spMkLst>
              <pc:docMk/>
              <pc:sldMasterMk cId="2480497422" sldId="2147483660"/>
              <pc:sldLayoutMk cId="1618054920" sldId="2147483665"/>
              <ac:spMk id="6" creationId="{34B3F1F8-609E-41D7-ABE4-D1FCB6988976}"/>
            </ac:spMkLst>
          </pc:spChg>
          <pc:spChg chg="add del mod ord">
            <ac:chgData name="Pascal Kowolik" userId="37b80ec5c5a1205d" providerId="LiveId" clId="{6D5D4FC7-01FE-426E-95D9-53F93490640B}" dt="2021-09-30T22:41:28.641" v="1522"/>
            <ac:spMkLst>
              <pc:docMk/>
              <pc:sldMasterMk cId="2480497422" sldId="2147483660"/>
              <pc:sldLayoutMk cId="1618054920" sldId="2147483665"/>
              <ac:spMk id="7" creationId="{A8593617-3FDE-4CAB-8C3D-EF38B73E8EB7}"/>
            </ac:spMkLst>
          </pc:spChg>
          <pc:spChg chg="add del mod ord">
            <ac:chgData name="Pascal Kowolik" userId="37b80ec5c5a1205d" providerId="LiveId" clId="{6D5D4FC7-01FE-426E-95D9-53F93490640B}" dt="2021-09-30T22:44:30.972" v="1544"/>
            <ac:spMkLst>
              <pc:docMk/>
              <pc:sldMasterMk cId="2480497422" sldId="2147483660"/>
              <pc:sldLayoutMk cId="1618054920" sldId="2147483665"/>
              <ac:spMk id="9" creationId="{1D856727-8B12-4692-B036-0DB59D92F1B2}"/>
            </ac:spMkLst>
          </pc:spChg>
          <pc:spChg chg="add del mod modVis">
            <ac:chgData name="Pascal Kowolik" userId="37b80ec5c5a1205d" providerId="LiveId" clId="{6D5D4FC7-01FE-426E-95D9-53F93490640B}" dt="2021-09-30T22:33:59.115" v="1381"/>
            <ac:spMkLst>
              <pc:docMk/>
              <pc:sldMasterMk cId="2480497422" sldId="2147483660"/>
              <pc:sldLayoutMk cId="1618054920" sldId="2147483665"/>
              <ac:spMk id="10" creationId="{996790F4-464A-4BBA-8F77-480651A7D218}"/>
            </ac:spMkLst>
          </pc:spChg>
          <pc:spChg chg="add del mod">
            <ac:chgData name="Pascal Kowolik" userId="37b80ec5c5a1205d" providerId="LiveId" clId="{6D5D4FC7-01FE-426E-95D9-53F93490640B}" dt="2021-09-30T22:41:28.641" v="1522"/>
            <ac:spMkLst>
              <pc:docMk/>
              <pc:sldMasterMk cId="2480497422" sldId="2147483660"/>
              <pc:sldLayoutMk cId="1618054920" sldId="2147483665"/>
              <ac:spMk id="11" creationId="{31BB1A1D-B9C2-43AF-BC57-7466B3DA0CEF}"/>
            </ac:spMkLst>
          </pc:spChg>
          <pc:spChg chg="add del mod">
            <ac:chgData name="Pascal Kowolik" userId="37b80ec5c5a1205d" providerId="LiveId" clId="{6D5D4FC7-01FE-426E-95D9-53F93490640B}" dt="2021-09-30T22:41:14.673" v="1521"/>
            <ac:spMkLst>
              <pc:docMk/>
              <pc:sldMasterMk cId="2480497422" sldId="2147483660"/>
              <pc:sldLayoutMk cId="1618054920" sldId="2147483665"/>
              <ac:spMk id="12" creationId="{6248561E-ECDD-41C7-9D02-CDD66D67DC25}"/>
            </ac:spMkLst>
          </pc:spChg>
          <pc:spChg chg="del mod">
            <ac:chgData name="Pascal Kowolik" userId="37b80ec5c5a1205d" providerId="LiveId" clId="{6D5D4FC7-01FE-426E-95D9-53F93490640B}" dt="2021-09-30T22:42:40.806" v="1526"/>
            <ac:spMkLst>
              <pc:docMk/>
              <pc:sldMasterMk cId="2480497422" sldId="2147483660"/>
              <pc:sldLayoutMk cId="1618054920" sldId="2147483665"/>
              <ac:spMk id="13" creationId="{89E0E2C8-5BB7-43FF-A918-E82D4CAB9D28}"/>
            </ac:spMkLst>
          </pc:spChg>
          <pc:spChg chg="add del mod">
            <ac:chgData name="Pascal Kowolik" userId="37b80ec5c5a1205d" providerId="LiveId" clId="{6D5D4FC7-01FE-426E-95D9-53F93490640B}" dt="2021-09-30T22:42:40.806" v="1526"/>
            <ac:spMkLst>
              <pc:docMk/>
              <pc:sldMasterMk cId="2480497422" sldId="2147483660"/>
              <pc:sldLayoutMk cId="1618054920" sldId="2147483665"/>
              <ac:spMk id="14" creationId="{5CEE70D8-3BD0-4FBF-A7B2-27B2964D33F5}"/>
            </ac:spMkLst>
          </pc:spChg>
          <pc:spChg chg="del mod">
            <ac:chgData name="Pascal Kowolik" userId="37b80ec5c5a1205d" providerId="LiveId" clId="{6D5D4FC7-01FE-426E-95D9-53F93490640B}" dt="2021-09-30T22:43:11.987" v="1530"/>
            <ac:spMkLst>
              <pc:docMk/>
              <pc:sldMasterMk cId="2480497422" sldId="2147483660"/>
              <pc:sldLayoutMk cId="1618054920" sldId="2147483665"/>
              <ac:spMk id="15" creationId="{956672B1-B067-43F6-AAEE-75D8D52A1C01}"/>
            </ac:spMkLst>
          </pc:spChg>
          <pc:spChg chg="add del mod">
            <ac:chgData name="Pascal Kowolik" userId="37b80ec5c5a1205d" providerId="LiveId" clId="{6D5D4FC7-01FE-426E-95D9-53F93490640B}" dt="2021-09-30T22:43:11.987" v="1530"/>
            <ac:spMkLst>
              <pc:docMk/>
              <pc:sldMasterMk cId="2480497422" sldId="2147483660"/>
              <pc:sldLayoutMk cId="1618054920" sldId="2147483665"/>
              <ac:spMk id="16" creationId="{D1EE5410-2EF4-49D1-B1CD-2D895AF9704D}"/>
            </ac:spMkLst>
          </pc:spChg>
          <pc:spChg chg="mod ord">
            <ac:chgData name="Pascal Kowolik" userId="37b80ec5c5a1205d" providerId="LiveId" clId="{6D5D4FC7-01FE-426E-95D9-53F93490640B}" dt="2021-10-01T00:22:04.326" v="2205"/>
            <ac:spMkLst>
              <pc:docMk/>
              <pc:sldMasterMk cId="2480497422" sldId="2147483660"/>
              <pc:sldLayoutMk cId="1618054920" sldId="2147483665"/>
              <ac:spMk id="17" creationId="{4CAA9C68-EDC7-4847-BA3C-582A49C68826}"/>
            </ac:spMkLst>
          </pc:spChg>
          <pc:spChg chg="add del mod">
            <ac:chgData name="Pascal Kowolik" userId="37b80ec5c5a1205d" providerId="LiveId" clId="{6D5D4FC7-01FE-426E-95D9-53F93490640B}" dt="2021-09-30T22:44:30.972" v="1544"/>
            <ac:spMkLst>
              <pc:docMk/>
              <pc:sldMasterMk cId="2480497422" sldId="2147483660"/>
              <pc:sldLayoutMk cId="1618054920" sldId="2147483665"/>
              <ac:spMk id="18" creationId="{249C90FD-84F8-40A6-9FE8-6717341FC86B}"/>
            </ac:spMkLst>
          </pc:spChg>
          <pc:spChg chg="add del mod">
            <ac:chgData name="Pascal Kowolik" userId="37b80ec5c5a1205d" providerId="LiveId" clId="{6D5D4FC7-01FE-426E-95D9-53F93490640B}" dt="2021-09-30T22:44:30.972" v="1544"/>
            <ac:spMkLst>
              <pc:docMk/>
              <pc:sldMasterMk cId="2480497422" sldId="2147483660"/>
              <pc:sldLayoutMk cId="1618054920" sldId="2147483665"/>
              <ac:spMk id="19" creationId="{FC94CEF2-E7B4-4FF3-B621-D1B3F07F1599}"/>
            </ac:spMkLst>
          </pc:spChg>
          <pc:spChg chg="add del mod">
            <ac:chgData name="Pascal Kowolik" userId="37b80ec5c5a1205d" providerId="LiveId" clId="{6D5D4FC7-01FE-426E-95D9-53F93490640B}" dt="2021-09-30T22:44:30.972" v="1544"/>
            <ac:spMkLst>
              <pc:docMk/>
              <pc:sldMasterMk cId="2480497422" sldId="2147483660"/>
              <pc:sldLayoutMk cId="1618054920" sldId="2147483665"/>
              <ac:spMk id="20" creationId="{5CEA8D6A-78E6-494F-9BF9-3CDCC7B976E9}"/>
            </ac:spMkLst>
          </pc:spChg>
          <pc:spChg chg="mod ord">
            <ac:chgData name="Pascal Kowolik" userId="37b80ec5c5a1205d" providerId="LiveId" clId="{6D5D4FC7-01FE-426E-95D9-53F93490640B}" dt="2021-10-01T00:22:04.325" v="2203"/>
            <ac:spMkLst>
              <pc:docMk/>
              <pc:sldMasterMk cId="2480497422" sldId="2147483660"/>
              <pc:sldLayoutMk cId="1618054920" sldId="2147483665"/>
              <ac:spMk id="21" creationId="{326F0CB8-7B18-4B51-A97C-CD1BDA860E95}"/>
            </ac:spMkLst>
          </pc:spChg>
          <pc:graphicFrameChg chg="mod">
            <ac:chgData name="Pascal Kowolik" userId="37b80ec5c5a1205d" providerId="LiveId" clId="{6D5D4FC7-01FE-426E-95D9-53F93490640B}" dt="2021-10-01T00:22:04.339" v="2210"/>
            <ac:graphicFrameMkLst>
              <pc:docMk/>
              <pc:sldMasterMk cId="2480497422" sldId="2147483660"/>
              <pc:sldLayoutMk cId="1618054920" sldId="2147483665"/>
              <ac:graphicFrameMk id="8" creationId="{FC498F34-46DA-49D1-BD3A-A5D97F655C20}"/>
            </ac:graphicFrameMkLst>
          </pc:graphicFrameChg>
        </pc:sldLayoutChg>
        <pc:sldLayoutChg chg="mod setBg">
          <pc:chgData name="Pascal Kowolik" userId="37b80ec5c5a1205d" providerId="LiveId" clId="{6D5D4FC7-01FE-426E-95D9-53F93490640B}" dt="2021-09-30T22:45:27.276" v="1546"/>
          <pc:sldLayoutMkLst>
            <pc:docMk/>
            <pc:sldMasterMk cId="2480497422" sldId="2147483660"/>
            <pc:sldLayoutMk cId="4141257984" sldId="2147483666"/>
          </pc:sldLayoutMkLst>
        </pc:sldLayoutChg>
        <pc:sldLayoutChg chg="del">
          <pc:chgData name="Pascal Kowolik" userId="37b80ec5c5a1205d" providerId="LiveId" clId="{6D5D4FC7-01FE-426E-95D9-53F93490640B}" dt="2021-09-30T22:49:06.306" v="1549" actId="2696"/>
          <pc:sldLayoutMkLst>
            <pc:docMk/>
            <pc:sldMasterMk cId="2480497422" sldId="2147483660"/>
            <pc:sldLayoutMk cId="2303509206" sldId="2147483667"/>
          </pc:sldLayoutMkLst>
        </pc:sldLayoutChg>
        <pc:sldLayoutChg chg="addSp delSp modSp mod ord">
          <pc:chgData name="Pascal Kowolik" userId="37b80ec5c5a1205d" providerId="LiveId" clId="{6D5D4FC7-01FE-426E-95D9-53F93490640B}" dt="2021-09-30T22:52:25.143" v="1747"/>
          <pc:sldLayoutMkLst>
            <pc:docMk/>
            <pc:sldMasterMk cId="2480497422" sldId="2147483660"/>
            <pc:sldLayoutMk cId="4081781178" sldId="2147483667"/>
          </pc:sldLayoutMkLst>
          <pc:spChg chg="del mod">
            <ac:chgData name="Pascal Kowolik" userId="37b80ec5c5a1205d" providerId="LiveId" clId="{6D5D4FC7-01FE-426E-95D9-53F93490640B}" dt="2021-09-30T22:52:11.937" v="1739" actId="21"/>
            <ac:spMkLst>
              <pc:docMk/>
              <pc:sldMasterMk cId="2480497422" sldId="2147483660"/>
              <pc:sldLayoutMk cId="4081781178" sldId="2147483667"/>
              <ac:spMk id="2" creationId="{CC6395B5-E2CB-4953-A43A-F7E01D285F3C}"/>
            </ac:spMkLst>
          </pc:spChg>
          <pc:spChg chg="add del mod modVis">
            <ac:chgData name="Pascal Kowolik" userId="37b80ec5c5a1205d" providerId="LiveId" clId="{6D5D4FC7-01FE-426E-95D9-53F93490640B}" dt="2021-09-30T22:50:08.544" v="1592"/>
            <ac:spMkLst>
              <pc:docMk/>
              <pc:sldMasterMk cId="2480497422" sldId="2147483660"/>
              <pc:sldLayoutMk cId="4081781178" sldId="2147483667"/>
              <ac:spMk id="3" creationId="{CB4154A0-24F5-4583-B33E-789BBA3336DB}"/>
            </ac:spMkLst>
          </pc:spChg>
          <pc:spChg chg="add del mod modVis">
            <ac:chgData name="Pascal Kowolik" userId="37b80ec5c5a1205d" providerId="LiveId" clId="{6D5D4FC7-01FE-426E-95D9-53F93490640B}" dt="2021-09-30T22:50:13.957" v="1636"/>
            <ac:spMkLst>
              <pc:docMk/>
              <pc:sldMasterMk cId="2480497422" sldId="2147483660"/>
              <pc:sldLayoutMk cId="4081781178" sldId="2147483667"/>
              <ac:spMk id="4" creationId="{54F5A030-6189-4DB8-A13E-8FEEF600A0A8}"/>
            </ac:spMkLst>
          </pc:spChg>
          <pc:spChg chg="add mod">
            <ac:chgData name="Pascal Kowolik" userId="37b80ec5c5a1205d" providerId="LiveId" clId="{6D5D4FC7-01FE-426E-95D9-53F93490640B}" dt="2021-09-30T22:52:24.629" v="1744" actId="1076"/>
            <ac:spMkLst>
              <pc:docMk/>
              <pc:sldMasterMk cId="2480497422" sldId="2147483660"/>
              <pc:sldLayoutMk cId="4081781178" sldId="2147483667"/>
              <ac:spMk id="9" creationId="{7D3DC453-3B75-433A-BB25-21108DB7743B}"/>
            </ac:spMkLst>
          </pc:spChg>
          <pc:graphicFrameChg chg="mod">
            <ac:chgData name="Pascal Kowolik" userId="37b80ec5c5a1205d" providerId="LiveId" clId="{6D5D4FC7-01FE-426E-95D9-53F93490640B}" dt="2021-09-30T22:52:25.143" v="1747"/>
            <ac:graphicFrameMkLst>
              <pc:docMk/>
              <pc:sldMasterMk cId="2480497422" sldId="2147483660"/>
              <pc:sldLayoutMk cId="4081781178" sldId="2147483667"/>
              <ac:graphicFrameMk id="8" creationId="{FC498F34-46DA-49D1-BD3A-A5D97F655C20}"/>
            </ac:graphicFrameMkLst>
          </pc:graphicFrameChg>
        </pc:sldLayoutChg>
        <pc:sldLayoutChg chg="del">
          <pc:chgData name="Pascal Kowolik" userId="37b80ec5c5a1205d" providerId="LiveId" clId="{6D5D4FC7-01FE-426E-95D9-53F93490640B}" dt="2021-09-30T22:49:09.561" v="1550" actId="2696"/>
          <pc:sldLayoutMkLst>
            <pc:docMk/>
            <pc:sldMasterMk cId="2480497422" sldId="2147483660"/>
            <pc:sldLayoutMk cId="2473867823" sldId="2147483668"/>
          </pc:sldLayoutMkLst>
        </pc:sldLayoutChg>
      </pc:sldMasterChg>
      <pc:sldMasterChg chg="del delSldLayout">
        <pc:chgData name="Pascal Kowolik" userId="37b80ec5c5a1205d" providerId="LiveId" clId="{6D5D4FC7-01FE-426E-95D9-53F93490640B}" dt="2021-09-30T22:49:04.440" v="1548" actId="2696"/>
        <pc:sldMasterMkLst>
          <pc:docMk/>
          <pc:sldMasterMk cId="866034848" sldId="2147483669"/>
        </pc:sldMasterMkLst>
        <pc:sldLayoutChg chg="del">
          <pc:chgData name="Pascal Kowolik" userId="37b80ec5c5a1205d" providerId="LiveId" clId="{6D5D4FC7-01FE-426E-95D9-53F93490640B}" dt="2021-09-30T22:49:04.437" v="1547" actId="2696"/>
          <pc:sldLayoutMkLst>
            <pc:docMk/>
            <pc:sldMasterMk cId="866034848" sldId="2147483669"/>
            <pc:sldLayoutMk cId="2682228473" sldId="2147483670"/>
          </pc:sldLayoutMkLst>
        </pc:sldLayoutChg>
      </pc:sldMasterChg>
    </pc:docChg>
  </pc:docChgLst>
  <pc:docChgLst>
    <pc:chgData name="Pascal Kowolik" userId="37b80ec5c5a1205d" providerId="LiveId" clId="{BF740F82-ED7B-422D-8D03-ADBDB7443C9E}"/>
    <pc:docChg chg="undo custSel addSld delSld modSld sldOrd addMainMaster delMainMaster modMainMaster addSection delSection modSection replTag">
      <pc:chgData name="Pascal Kowolik" userId="37b80ec5c5a1205d" providerId="LiveId" clId="{BF740F82-ED7B-422D-8D03-ADBDB7443C9E}" dt="2021-09-21T23:43:39.304" v="3148"/>
      <pc:docMkLst>
        <pc:docMk/>
      </pc:docMkLst>
      <pc:sldChg chg="addSp delSp modSp new add del mod modClrScheme chgLayout">
        <pc:chgData name="Pascal Kowolik" userId="37b80ec5c5a1205d" providerId="LiveId" clId="{BF740F82-ED7B-422D-8D03-ADBDB7443C9E}" dt="2021-09-21T22:40:04.964" v="139" actId="2696"/>
        <pc:sldMkLst>
          <pc:docMk/>
          <pc:sldMk cId="57741516" sldId="256"/>
        </pc:sldMkLst>
        <pc:spChg chg="del mod ord">
          <ac:chgData name="Pascal Kowolik" userId="37b80ec5c5a1205d" providerId="LiveId" clId="{BF740F82-ED7B-422D-8D03-ADBDB7443C9E}" dt="2021-09-21T22:39:28.758" v="116"/>
          <ac:spMkLst>
            <pc:docMk/>
            <pc:sldMk cId="57741516" sldId="256"/>
            <ac:spMk id="2" creationId="{D5ABE61D-3CC8-415D-93B3-98333B677C38}"/>
          </ac:spMkLst>
        </pc:spChg>
        <pc:spChg chg="del">
          <ac:chgData name="Pascal Kowolik" userId="37b80ec5c5a1205d" providerId="LiveId" clId="{BF740F82-ED7B-422D-8D03-ADBDB7443C9E}" dt="2021-09-21T22:39:28.758" v="116"/>
          <ac:spMkLst>
            <pc:docMk/>
            <pc:sldMk cId="57741516" sldId="256"/>
            <ac:spMk id="3" creationId="{EEFF5D9A-EA4D-4F7D-9AD2-CCCDA10AF7D9}"/>
          </ac:spMkLst>
        </pc:spChg>
        <pc:spChg chg="add del mod ord">
          <ac:chgData name="Pascal Kowolik" userId="37b80ec5c5a1205d" providerId="LiveId" clId="{BF740F82-ED7B-422D-8D03-ADBDB7443C9E}" dt="2021-09-21T22:39:37.946" v="135"/>
          <ac:spMkLst>
            <pc:docMk/>
            <pc:sldMk cId="57741516" sldId="256"/>
            <ac:spMk id="4" creationId="{9E3732CE-F3EF-4C62-8133-68BC6AED472F}"/>
          </ac:spMkLst>
        </pc:spChg>
        <pc:spChg chg="add mod ord">
          <ac:chgData name="Pascal Kowolik" userId="37b80ec5c5a1205d" providerId="LiveId" clId="{BF740F82-ED7B-422D-8D03-ADBDB7443C9E}" dt="2021-09-21T22:39:37.946" v="135"/>
          <ac:spMkLst>
            <pc:docMk/>
            <pc:sldMk cId="57741516" sldId="256"/>
            <ac:spMk id="6" creationId="{1B132126-EF29-4682-82CE-6C0BFBD68C82}"/>
          </ac:spMkLst>
        </pc:spChg>
        <pc:spChg chg="add mod ord">
          <ac:chgData name="Pascal Kowolik" userId="37b80ec5c5a1205d" providerId="LiveId" clId="{BF740F82-ED7B-422D-8D03-ADBDB7443C9E}" dt="2021-09-21T22:39:37.946" v="135"/>
          <ac:spMkLst>
            <pc:docMk/>
            <pc:sldMk cId="57741516" sldId="256"/>
            <ac:spMk id="7" creationId="{BA1B0F63-9B7C-45EE-8208-BB04DF9A7954}"/>
          </ac:spMkLst>
        </pc:spChg>
        <pc:graphicFrameChg chg="add mod ord modVis replST">
          <ac:chgData name="Pascal Kowolik" userId="37b80ec5c5a1205d" providerId="LiveId" clId="{BF740F82-ED7B-422D-8D03-ADBDB7443C9E}" dt="2021-09-21T22:39:38.453" v="138"/>
          <ac:graphicFrameMkLst>
            <pc:docMk/>
            <pc:sldMk cId="57741516" sldId="256"/>
            <ac:graphicFrameMk id="5" creationId="{8CE58C86-288E-4412-9EF1-BA4A1D47B183}"/>
          </ac:graphicFrameMkLst>
        </pc:graphicFrameChg>
      </pc:sldChg>
      <pc:sldChg chg="del">
        <pc:chgData name="Pascal Kowolik" userId="37b80ec5c5a1205d" providerId="LiveId" clId="{BF740F82-ED7B-422D-8D03-ADBDB7443C9E}" dt="2021-09-21T23:00:10.923" v="1007" actId="2696"/>
        <pc:sldMkLst>
          <pc:docMk/>
          <pc:sldMk cId="247333002" sldId="256"/>
        </pc:sldMkLst>
      </pc:sldChg>
      <pc:sldChg chg="new add del">
        <pc:chgData name="Pascal Kowolik" userId="37b80ec5c5a1205d" providerId="LiveId" clId="{BF740F82-ED7B-422D-8D03-ADBDB7443C9E}" dt="2021-09-21T22:39:08.329" v="112" actId="2696"/>
        <pc:sldMkLst>
          <pc:docMk/>
          <pc:sldMk cId="380704987" sldId="256"/>
        </pc:sldMkLst>
      </pc:sldChg>
      <pc:sldChg chg="new add del">
        <pc:chgData name="Pascal Kowolik" userId="37b80ec5c5a1205d" providerId="LiveId" clId="{BF740F82-ED7B-422D-8D03-ADBDB7443C9E}" dt="2021-09-21T22:35:39.588" v="98" actId="2696"/>
        <pc:sldMkLst>
          <pc:docMk/>
          <pc:sldMk cId="1184352985" sldId="256"/>
        </pc:sldMkLst>
      </pc:sldChg>
      <pc:sldChg chg="new add del">
        <pc:chgData name="Pascal Kowolik" userId="37b80ec5c5a1205d" providerId="LiveId" clId="{BF740F82-ED7B-422D-8D03-ADBDB7443C9E}" dt="2021-09-21T22:42:45.077" v="166" actId="680"/>
        <pc:sldMkLst>
          <pc:docMk/>
          <pc:sldMk cId="1197652214" sldId="256"/>
        </pc:sldMkLst>
      </pc:sldChg>
      <pc:sldChg chg="new add del">
        <pc:chgData name="Pascal Kowolik" userId="37b80ec5c5a1205d" providerId="LiveId" clId="{BF740F82-ED7B-422D-8D03-ADBDB7443C9E}" dt="2021-09-21T22:37:04.034" v="102" actId="2696"/>
        <pc:sldMkLst>
          <pc:docMk/>
          <pc:sldMk cId="1675945463" sldId="256"/>
        </pc:sldMkLst>
      </pc:sldChg>
      <pc:sldChg chg="addSp modSp new add del mod">
        <pc:chgData name="Pascal Kowolik" userId="37b80ec5c5a1205d" providerId="LiveId" clId="{BF740F82-ED7B-422D-8D03-ADBDB7443C9E}" dt="2021-09-21T22:59:37.877" v="998" actId="2696"/>
        <pc:sldMkLst>
          <pc:docMk/>
          <pc:sldMk cId="2213408091" sldId="256"/>
        </pc:sldMkLst>
        <pc:spChg chg="mod">
          <ac:chgData name="Pascal Kowolik" userId="37b80ec5c5a1205d" providerId="LiveId" clId="{BF740F82-ED7B-422D-8D03-ADBDB7443C9E}" dt="2021-09-21T22:50:31.075" v="236"/>
          <ac:spMkLst>
            <pc:docMk/>
            <pc:sldMk cId="2213408091" sldId="256"/>
            <ac:spMk id="2" creationId="{C30FF86E-5EF3-439C-A08C-47D904D14242}"/>
          </ac:spMkLst>
        </pc:spChg>
        <pc:spChg chg="mod">
          <ac:chgData name="Pascal Kowolik" userId="37b80ec5c5a1205d" providerId="LiveId" clId="{BF740F82-ED7B-422D-8D03-ADBDB7443C9E}" dt="2021-09-21T22:50:31.075" v="236"/>
          <ac:spMkLst>
            <pc:docMk/>
            <pc:sldMk cId="2213408091" sldId="256"/>
            <ac:spMk id="3" creationId="{E759B2A6-1C32-436F-A665-DC34662E4121}"/>
          </ac:spMkLst>
        </pc:spChg>
        <pc:graphicFrameChg chg="add mod ord modVis replST">
          <ac:chgData name="Pascal Kowolik" userId="37b80ec5c5a1205d" providerId="LiveId" clId="{BF740F82-ED7B-422D-8D03-ADBDB7443C9E}" dt="2021-09-21T22:59:34.354" v="997"/>
          <ac:graphicFrameMkLst>
            <pc:docMk/>
            <pc:sldMk cId="2213408091" sldId="256"/>
            <ac:graphicFrameMk id="4" creationId="{C042D9C8-12C3-4263-97F3-6D1A0FEFA038}"/>
          </ac:graphicFrameMkLst>
        </pc:graphicFrameChg>
      </pc:sldChg>
      <pc:sldChg chg="new add del">
        <pc:chgData name="Pascal Kowolik" userId="37b80ec5c5a1205d" providerId="LiveId" clId="{BF740F82-ED7B-422D-8D03-ADBDB7443C9E}" dt="2021-09-21T22:44:36.162" v="179" actId="2696"/>
        <pc:sldMkLst>
          <pc:docMk/>
          <pc:sldMk cId="2486886827" sldId="256"/>
        </pc:sldMkLst>
      </pc:sldChg>
      <pc:sldChg chg="addSp modSp new add del mod">
        <pc:chgData name="Pascal Kowolik" userId="37b80ec5c5a1205d" providerId="LiveId" clId="{BF740F82-ED7B-422D-8D03-ADBDB7443C9E}" dt="2021-09-21T22:46:36.490" v="226" actId="2696"/>
        <pc:sldMkLst>
          <pc:docMk/>
          <pc:sldMk cId="2524905497" sldId="256"/>
        </pc:sldMkLst>
        <pc:spChg chg="mod">
          <ac:chgData name="Pascal Kowolik" userId="37b80ec5c5a1205d" providerId="LiveId" clId="{BF740F82-ED7B-422D-8D03-ADBDB7443C9E}" dt="2021-09-21T22:46:16.876" v="222"/>
          <ac:spMkLst>
            <pc:docMk/>
            <pc:sldMk cId="2524905497" sldId="256"/>
            <ac:spMk id="2" creationId="{8A748368-786F-49E5-9D35-5CD1BFF7C560}"/>
          </ac:spMkLst>
        </pc:spChg>
        <pc:spChg chg="mod">
          <ac:chgData name="Pascal Kowolik" userId="37b80ec5c5a1205d" providerId="LiveId" clId="{BF740F82-ED7B-422D-8D03-ADBDB7443C9E}" dt="2021-09-21T22:46:16.876" v="222"/>
          <ac:spMkLst>
            <pc:docMk/>
            <pc:sldMk cId="2524905497" sldId="256"/>
            <ac:spMk id="3" creationId="{0C28B5EB-D0A7-4A1D-9E93-6BA9452316BF}"/>
          </ac:spMkLst>
        </pc:spChg>
        <pc:graphicFrameChg chg="add mod ord modVis replST">
          <ac:chgData name="Pascal Kowolik" userId="37b80ec5c5a1205d" providerId="LiveId" clId="{BF740F82-ED7B-422D-8D03-ADBDB7443C9E}" dt="2021-09-21T22:46:17.424" v="225"/>
          <ac:graphicFrameMkLst>
            <pc:docMk/>
            <pc:sldMk cId="2524905497" sldId="256"/>
            <ac:graphicFrameMk id="4" creationId="{58AD7D18-A623-4F30-907C-AC6C9473A973}"/>
          </ac:graphicFrameMkLst>
        </pc:graphicFrameChg>
      </pc:sldChg>
      <pc:sldChg chg="new add del">
        <pc:chgData name="Pascal Kowolik" userId="37b80ec5c5a1205d" providerId="LiveId" clId="{BF740F82-ED7B-422D-8D03-ADBDB7443C9E}" dt="2021-09-21T22:44:31.881" v="176" actId="2696"/>
        <pc:sldMkLst>
          <pc:docMk/>
          <pc:sldMk cId="2545408032" sldId="256"/>
        </pc:sldMkLst>
      </pc:sldChg>
      <pc:sldChg chg="add del">
        <pc:chgData name="Pascal Kowolik" userId="37b80ec5c5a1205d" providerId="LiveId" clId="{BF740F82-ED7B-422D-8D03-ADBDB7443C9E}" dt="2021-09-21T22:37:26.245" v="106" actId="2696"/>
        <pc:sldMkLst>
          <pc:docMk/>
          <pc:sldMk cId="3288284826" sldId="256"/>
        </pc:sldMkLst>
      </pc:sldChg>
      <pc:sldChg chg="new add del">
        <pc:chgData name="Pascal Kowolik" userId="37b80ec5c5a1205d" providerId="LiveId" clId="{BF740F82-ED7B-422D-8D03-ADBDB7443C9E}" dt="2021-09-21T22:38:35.402" v="109" actId="2696"/>
        <pc:sldMkLst>
          <pc:docMk/>
          <pc:sldMk cId="3598117310" sldId="256"/>
        </pc:sldMkLst>
      </pc:sldChg>
      <pc:sldChg chg="addSp delSp modSp del mod modClrScheme chgLayout">
        <pc:chgData name="Pascal Kowolik" userId="37b80ec5c5a1205d" providerId="LiveId" clId="{BF740F82-ED7B-422D-8D03-ADBDB7443C9E}" dt="2021-09-21T22:33:36.146" v="78" actId="2696"/>
        <pc:sldMkLst>
          <pc:docMk/>
          <pc:sldMk cId="4033435271" sldId="256"/>
        </pc:sldMkLst>
        <pc:spChg chg="del mod ord">
          <ac:chgData name="Pascal Kowolik" userId="37b80ec5c5a1205d" providerId="LiveId" clId="{BF740F82-ED7B-422D-8D03-ADBDB7443C9E}" dt="2021-09-21T22:33:31.543" v="4"/>
          <ac:spMkLst>
            <pc:docMk/>
            <pc:sldMk cId="4033435271" sldId="256"/>
            <ac:spMk id="2" creationId="{7E079A49-8C4D-4EAE-A56B-E0D07518957C}"/>
          </ac:spMkLst>
        </pc:spChg>
        <pc:spChg chg="del mod ord">
          <ac:chgData name="Pascal Kowolik" userId="37b80ec5c5a1205d" providerId="LiveId" clId="{BF740F82-ED7B-422D-8D03-ADBDB7443C9E}" dt="2021-09-21T22:33:31.543" v="4"/>
          <ac:spMkLst>
            <pc:docMk/>
            <pc:sldMk cId="4033435271" sldId="256"/>
            <ac:spMk id="3" creationId="{4768B058-3E4B-4253-B24D-17E6CC8A29AD}"/>
          </ac:spMkLst>
        </pc:spChg>
        <pc:spChg chg="add mod ord">
          <ac:chgData name="Pascal Kowolik" userId="37b80ec5c5a1205d" providerId="LiveId" clId="{BF740F82-ED7B-422D-8D03-ADBDB7443C9E}" dt="2021-09-21T22:33:31.543" v="4"/>
          <ac:spMkLst>
            <pc:docMk/>
            <pc:sldMk cId="4033435271" sldId="256"/>
            <ac:spMk id="4" creationId="{1725DFEB-E7BD-43AA-AB1A-8E274AC2720D}"/>
          </ac:spMkLst>
        </pc:spChg>
        <pc:spChg chg="add mod ord">
          <ac:chgData name="Pascal Kowolik" userId="37b80ec5c5a1205d" providerId="LiveId" clId="{BF740F82-ED7B-422D-8D03-ADBDB7443C9E}" dt="2021-09-21T22:33:31.543" v="4"/>
          <ac:spMkLst>
            <pc:docMk/>
            <pc:sldMk cId="4033435271" sldId="256"/>
            <ac:spMk id="5" creationId="{512C33F5-7E63-4B0F-A2B3-2CC60356F4C2}"/>
          </ac:spMkLst>
        </pc:spChg>
        <pc:graphicFrameChg chg="add mod ord modVis replST">
          <ac:chgData name="Pascal Kowolik" userId="37b80ec5c5a1205d" providerId="LiveId" clId="{BF740F82-ED7B-422D-8D03-ADBDB7443C9E}" dt="2021-09-21T22:33:32.707" v="77"/>
          <ac:graphicFrameMkLst>
            <pc:docMk/>
            <pc:sldMk cId="4033435271" sldId="256"/>
            <ac:graphicFrameMk id="6" creationId="{84EB0EE6-79D7-48EF-AADF-CAEAD5E13A31}"/>
          </ac:graphicFrameMkLst>
        </pc:graphicFrameChg>
      </pc:sldChg>
      <pc:sldChg chg="new add del">
        <pc:chgData name="Pascal Kowolik" userId="37b80ec5c5a1205d" providerId="LiveId" clId="{BF740F82-ED7B-422D-8D03-ADBDB7443C9E}" dt="2021-09-21T22:33:18.698" v="2" actId="2696"/>
        <pc:sldMkLst>
          <pc:docMk/>
          <pc:sldMk cId="311029940" sldId="257"/>
        </pc:sldMkLst>
      </pc:sldChg>
      <pc:sldChg chg="addSp delSp modSp new add mod">
        <pc:chgData name="Pascal Kowolik" userId="37b80ec5c5a1205d" providerId="LiveId" clId="{BF740F82-ED7B-422D-8D03-ADBDB7443C9E}" dt="2021-09-21T23:38:31.738" v="2788" actId="21"/>
        <pc:sldMkLst>
          <pc:docMk/>
          <pc:sldMk cId="892255157" sldId="257"/>
        </pc:sldMkLst>
        <pc:spChg chg="mod">
          <ac:chgData name="Pascal Kowolik" userId="37b80ec5c5a1205d" providerId="LiveId" clId="{BF740F82-ED7B-422D-8D03-ADBDB7443C9E}" dt="2021-09-21T23:01:11.573" v="1228" actId="948"/>
          <ac:spMkLst>
            <pc:docMk/>
            <pc:sldMk cId="892255157" sldId="257"/>
            <ac:spMk id="2" creationId="{6881F031-E451-45E7-8386-9F72249CAC7B}"/>
          </ac:spMkLst>
        </pc:spChg>
        <pc:spChg chg="add del mod modVis">
          <ac:chgData name="Pascal Kowolik" userId="37b80ec5c5a1205d" providerId="LiveId" clId="{BF740F82-ED7B-422D-8D03-ADBDB7443C9E}" dt="2021-09-21T23:00:20.794" v="1060"/>
          <ac:spMkLst>
            <pc:docMk/>
            <pc:sldMk cId="892255157" sldId="257"/>
            <ac:spMk id="3" creationId="{55E4CC8A-2E44-41FE-B522-7D3BF085ACE7}"/>
          </ac:spMkLst>
        </pc:spChg>
        <pc:spChg chg="add del mod modVis">
          <ac:chgData name="Pascal Kowolik" userId="37b80ec5c5a1205d" providerId="LiveId" clId="{BF740F82-ED7B-422D-8D03-ADBDB7443C9E}" dt="2021-09-21T23:00:26.915" v="1130"/>
          <ac:spMkLst>
            <pc:docMk/>
            <pc:sldMk cId="892255157" sldId="257"/>
            <ac:spMk id="5" creationId="{3CD55F53-F777-4B32-9E8C-88AD07A4C725}"/>
          </ac:spMkLst>
        </pc:spChg>
        <pc:spChg chg="add del mod modVis">
          <ac:chgData name="Pascal Kowolik" userId="37b80ec5c5a1205d" providerId="LiveId" clId="{BF740F82-ED7B-422D-8D03-ADBDB7443C9E}" dt="2021-09-21T23:00:48.328" v="1174"/>
          <ac:spMkLst>
            <pc:docMk/>
            <pc:sldMk cId="892255157" sldId="257"/>
            <ac:spMk id="6" creationId="{B9A5F8E9-E9EA-4676-B2A9-B952A76F549B}"/>
          </ac:spMkLst>
        </pc:spChg>
        <pc:spChg chg="add del mod modVis">
          <ac:chgData name="Pascal Kowolik" userId="37b80ec5c5a1205d" providerId="LiveId" clId="{BF740F82-ED7B-422D-8D03-ADBDB7443C9E}" dt="2021-09-21T23:00:51.971" v="1218"/>
          <ac:spMkLst>
            <pc:docMk/>
            <pc:sldMk cId="892255157" sldId="257"/>
            <ac:spMk id="7" creationId="{577C9686-5AFF-4733-90E1-BC7D0F2FA37A}"/>
          </ac:spMkLst>
        </pc:spChg>
        <pc:spChg chg="add del mod modVis">
          <ac:chgData name="Pascal Kowolik" userId="37b80ec5c5a1205d" providerId="LiveId" clId="{BF740F82-ED7B-422D-8D03-ADBDB7443C9E}" dt="2021-09-21T23:01:11.604" v="1268"/>
          <ac:spMkLst>
            <pc:docMk/>
            <pc:sldMk cId="892255157" sldId="257"/>
            <ac:spMk id="8" creationId="{F44458DF-53BF-4E83-8464-F23583423997}"/>
          </ac:spMkLst>
        </pc:spChg>
        <pc:spChg chg="add del mod">
          <ac:chgData name="Pascal Kowolik" userId="37b80ec5c5a1205d" providerId="LiveId" clId="{BF740F82-ED7B-422D-8D03-ADBDB7443C9E}" dt="2021-09-21T23:38:31.738" v="2788" actId="21"/>
          <ac:spMkLst>
            <pc:docMk/>
            <pc:sldMk cId="892255157" sldId="257"/>
            <ac:spMk id="9" creationId="{F320D63E-48B3-4DA1-8409-8F59EEEB1F70}"/>
          </ac:spMkLst>
        </pc:spChg>
        <pc:graphicFrameChg chg="add mod ord modVis replST">
          <ac:chgData name="Pascal Kowolik" userId="37b80ec5c5a1205d" providerId="LiveId" clId="{BF740F82-ED7B-422D-8D03-ADBDB7443C9E}" dt="2021-09-21T23:01:11.604" v="1270"/>
          <ac:graphicFrameMkLst>
            <pc:docMk/>
            <pc:sldMk cId="892255157" sldId="257"/>
            <ac:graphicFrameMk id="4" creationId="{88FAD462-377F-4C6D-ABF9-878048675B77}"/>
          </ac:graphicFrameMkLst>
        </pc:graphicFrameChg>
      </pc:sldChg>
      <pc:sldChg chg="new add del">
        <pc:chgData name="Pascal Kowolik" userId="37b80ec5c5a1205d" providerId="LiveId" clId="{BF740F82-ED7B-422D-8D03-ADBDB7443C9E}" dt="2021-09-21T22:44:30.522" v="175" actId="2696"/>
        <pc:sldMkLst>
          <pc:docMk/>
          <pc:sldMk cId="2120291799" sldId="257"/>
        </pc:sldMkLst>
      </pc:sldChg>
      <pc:sldChg chg="new add del">
        <pc:chgData name="Pascal Kowolik" userId="37b80ec5c5a1205d" providerId="LiveId" clId="{BF740F82-ED7B-422D-8D03-ADBDB7443C9E}" dt="2021-09-21T22:35:38.517" v="97" actId="2696"/>
        <pc:sldMkLst>
          <pc:docMk/>
          <pc:sldMk cId="3882615794" sldId="257"/>
        </pc:sldMkLst>
      </pc:sldChg>
      <pc:sldChg chg="new add del">
        <pc:chgData name="Pascal Kowolik" userId="37b80ec5c5a1205d" providerId="LiveId" clId="{BF740F82-ED7B-422D-8D03-ADBDB7443C9E}" dt="2021-09-21T22:59:58.979" v="1004" actId="2696"/>
        <pc:sldMkLst>
          <pc:docMk/>
          <pc:sldMk cId="4036384070" sldId="257"/>
        </pc:sldMkLst>
      </pc:sldChg>
      <pc:sldChg chg="new add del">
        <pc:chgData name="Pascal Kowolik" userId="37b80ec5c5a1205d" providerId="LiveId" clId="{BF740F82-ED7B-422D-8D03-ADBDB7443C9E}" dt="2021-09-21T23:01:34.878" v="1273" actId="2696"/>
        <pc:sldMkLst>
          <pc:docMk/>
          <pc:sldMk cId="447662834" sldId="258"/>
        </pc:sldMkLst>
      </pc:sldChg>
      <pc:sldChg chg="addSp delSp modSp new add mod">
        <pc:chgData name="Pascal Kowolik" userId="37b80ec5c5a1205d" providerId="LiveId" clId="{BF740F82-ED7B-422D-8D03-ADBDB7443C9E}" dt="2021-09-21T23:33:30.264" v="2434"/>
        <pc:sldMkLst>
          <pc:docMk/>
          <pc:sldMk cId="2627140777" sldId="258"/>
        </pc:sldMkLst>
        <pc:spChg chg="add mod ord">
          <ac:chgData name="Pascal Kowolik" userId="37b80ec5c5a1205d" providerId="LiveId" clId="{BF740F82-ED7B-422D-8D03-ADBDB7443C9E}" dt="2021-09-21T23:28:59.759" v="2408" actId="1076"/>
          <ac:spMkLst>
            <pc:docMk/>
            <pc:sldMk cId="2627140777" sldId="258"/>
            <ac:spMk id="2" creationId="{8D93EAE9-8ED5-4A5A-AB11-48917D9B6169}"/>
          </ac:spMkLst>
        </pc:spChg>
        <pc:spChg chg="add mod ord">
          <ac:chgData name="Pascal Kowolik" userId="37b80ec5c5a1205d" providerId="LiveId" clId="{BF740F82-ED7B-422D-8D03-ADBDB7443C9E}" dt="2021-09-21T23:16:34.029" v="2322" actId="1076"/>
          <ac:spMkLst>
            <pc:docMk/>
            <pc:sldMk cId="2627140777" sldId="258"/>
            <ac:spMk id="3" creationId="{B91E7B05-4AD3-4E02-9AED-C63A936EE223}"/>
          </ac:spMkLst>
        </pc:spChg>
        <pc:spChg chg="add mod ord">
          <ac:chgData name="Pascal Kowolik" userId="37b80ec5c5a1205d" providerId="LiveId" clId="{BF740F82-ED7B-422D-8D03-ADBDB7443C9E}" dt="2021-09-21T23:20:11.607" v="2343" actId="207"/>
          <ac:spMkLst>
            <pc:docMk/>
            <pc:sldMk cId="2627140777" sldId="258"/>
            <ac:spMk id="7" creationId="{B44FDDDB-00A6-4C6A-9441-9FF42D712B91}"/>
          </ac:spMkLst>
        </pc:spChg>
        <pc:spChg chg="add mod">
          <ac:chgData name="Pascal Kowolik" userId="37b80ec5c5a1205d" providerId="LiveId" clId="{BF740F82-ED7B-422D-8D03-ADBDB7443C9E}" dt="2021-09-21T23:31:52.765" v="2429" actId="1076"/>
          <ac:spMkLst>
            <pc:docMk/>
            <pc:sldMk cId="2627140777" sldId="258"/>
            <ac:spMk id="8" creationId="{5D7950C4-18DD-492C-B9AC-78657AF951F3}"/>
          </ac:spMkLst>
        </pc:spChg>
        <pc:spChg chg="add mod">
          <ac:chgData name="Pascal Kowolik" userId="37b80ec5c5a1205d" providerId="LiveId" clId="{BF740F82-ED7B-422D-8D03-ADBDB7443C9E}" dt="2021-09-21T23:32:29.707" v="2432" actId="1076"/>
          <ac:spMkLst>
            <pc:docMk/>
            <pc:sldMk cId="2627140777" sldId="258"/>
            <ac:spMk id="9" creationId="{F67CC990-4146-4BC3-B726-A44EACD5B5A2}"/>
          </ac:spMkLst>
        </pc:spChg>
        <pc:spChg chg="add mod">
          <ac:chgData name="Pascal Kowolik" userId="37b80ec5c5a1205d" providerId="LiveId" clId="{BF740F82-ED7B-422D-8D03-ADBDB7443C9E}" dt="2021-09-21T23:32:20.756" v="2431" actId="1076"/>
          <ac:spMkLst>
            <pc:docMk/>
            <pc:sldMk cId="2627140777" sldId="258"/>
            <ac:spMk id="10" creationId="{F928F867-B462-4CE8-BD67-39CE1D2F3052}"/>
          </ac:spMkLst>
        </pc:spChg>
        <pc:spChg chg="add mod">
          <ac:chgData name="Pascal Kowolik" userId="37b80ec5c5a1205d" providerId="LiveId" clId="{BF740F82-ED7B-422D-8D03-ADBDB7443C9E}" dt="2021-09-21T23:32:02.448" v="2430" actId="1076"/>
          <ac:spMkLst>
            <pc:docMk/>
            <pc:sldMk cId="2627140777" sldId="258"/>
            <ac:spMk id="11" creationId="{7645514F-4C7D-4B94-A8C6-9F896EA48386}"/>
          </ac:spMkLst>
        </pc:spChg>
        <pc:spChg chg="add mod">
          <ac:chgData name="Pascal Kowolik" userId="37b80ec5c5a1205d" providerId="LiveId" clId="{BF740F82-ED7B-422D-8D03-ADBDB7443C9E}" dt="2021-09-21T23:32:51.352" v="2433" actId="1076"/>
          <ac:spMkLst>
            <pc:docMk/>
            <pc:sldMk cId="2627140777" sldId="258"/>
            <ac:spMk id="12" creationId="{FFF34322-CFF3-49E3-A634-6B569382268C}"/>
          </ac:spMkLst>
        </pc:spChg>
        <pc:spChg chg="del">
          <ac:chgData name="Pascal Kowolik" userId="37b80ec5c5a1205d" providerId="LiveId" clId="{BF740F82-ED7B-422D-8D03-ADBDB7443C9E}" dt="2021-09-21T23:33:30.264" v="2434"/>
          <ac:spMkLst>
            <pc:docMk/>
            <pc:sldMk cId="2627140777" sldId="258"/>
            <ac:spMk id="23" creationId="{DD300514-B923-421A-9366-4FCFB5027041}"/>
          </ac:spMkLst>
        </pc:spChg>
        <pc:graphicFrameChg chg="add mod ord modVis replST">
          <ac:chgData name="Pascal Kowolik" userId="37b80ec5c5a1205d" providerId="LiveId" clId="{BF740F82-ED7B-422D-8D03-ADBDB7443C9E}" dt="2021-09-21T23:09:45.862" v="2099"/>
          <ac:graphicFrameMkLst>
            <pc:docMk/>
            <pc:sldMk cId="2627140777" sldId="258"/>
            <ac:graphicFrameMk id="6" creationId="{CCF9E73A-3CB6-41FA-9D02-A3DA253BEA1F}"/>
          </ac:graphicFrameMkLst>
        </pc:graphicFrameChg>
        <pc:picChg chg="add mod ord">
          <ac:chgData name="Pascal Kowolik" userId="37b80ec5c5a1205d" providerId="LiveId" clId="{BF740F82-ED7B-422D-8D03-ADBDB7443C9E}" dt="2021-09-21T23:09:45.837" v="2090"/>
          <ac:picMkLst>
            <pc:docMk/>
            <pc:sldMk cId="2627140777" sldId="258"/>
            <ac:picMk id="5" creationId="{2418A0F1-80B6-43A6-9331-447FA949765C}"/>
          </ac:picMkLst>
        </pc:picChg>
        <pc:picChg chg="add mod">
          <ac:chgData name="Pascal Kowolik" userId="37b80ec5c5a1205d" providerId="LiveId" clId="{BF740F82-ED7B-422D-8D03-ADBDB7443C9E}" dt="2021-09-21T23:28:17.680" v="2404" actId="1076"/>
          <ac:picMkLst>
            <pc:docMk/>
            <pc:sldMk cId="2627140777" sldId="258"/>
            <ac:picMk id="14" creationId="{6CFD61E9-ECCF-4F0D-A8FA-828A2DC318A1}"/>
          </ac:picMkLst>
        </pc:picChg>
        <pc:picChg chg="add mod">
          <ac:chgData name="Pascal Kowolik" userId="37b80ec5c5a1205d" providerId="LiveId" clId="{BF740F82-ED7B-422D-8D03-ADBDB7443C9E}" dt="2021-09-21T23:27:29.849" v="2400" actId="1076"/>
          <ac:picMkLst>
            <pc:docMk/>
            <pc:sldMk cId="2627140777" sldId="258"/>
            <ac:picMk id="16" creationId="{8E8A8A7A-0002-47BF-8DD4-B77FE8183E99}"/>
          </ac:picMkLst>
        </pc:picChg>
        <pc:picChg chg="add mod">
          <ac:chgData name="Pascal Kowolik" userId="37b80ec5c5a1205d" providerId="LiveId" clId="{BF740F82-ED7B-422D-8D03-ADBDB7443C9E}" dt="2021-09-21T23:27:59.117" v="2402" actId="1076"/>
          <ac:picMkLst>
            <pc:docMk/>
            <pc:sldMk cId="2627140777" sldId="258"/>
            <ac:picMk id="18" creationId="{3EFB466F-B4DA-417D-A902-8A6F75519975}"/>
          </ac:picMkLst>
        </pc:picChg>
        <pc:picChg chg="add mod">
          <ac:chgData name="Pascal Kowolik" userId="37b80ec5c5a1205d" providerId="LiveId" clId="{BF740F82-ED7B-422D-8D03-ADBDB7443C9E}" dt="2021-09-21T23:27:01.680" v="2396" actId="1076"/>
          <ac:picMkLst>
            <pc:docMk/>
            <pc:sldMk cId="2627140777" sldId="258"/>
            <ac:picMk id="20" creationId="{FAEAA86C-FCCC-4B64-967E-28E4EBBB59F3}"/>
          </ac:picMkLst>
        </pc:picChg>
        <pc:picChg chg="add mod">
          <ac:chgData name="Pascal Kowolik" userId="37b80ec5c5a1205d" providerId="LiveId" clId="{BF740F82-ED7B-422D-8D03-ADBDB7443C9E}" dt="2021-09-21T23:28:06.526" v="2403" actId="1076"/>
          <ac:picMkLst>
            <pc:docMk/>
            <pc:sldMk cId="2627140777" sldId="258"/>
            <ac:picMk id="22" creationId="{5C82CEF1-400D-4083-9025-4D7D363806EA}"/>
          </ac:picMkLst>
        </pc:picChg>
      </pc:sldChg>
      <pc:sldChg chg="new add del">
        <pc:chgData name="Pascal Kowolik" userId="37b80ec5c5a1205d" providerId="LiveId" clId="{BF740F82-ED7B-422D-8D03-ADBDB7443C9E}" dt="2021-09-21T22:59:56.872" v="1003" actId="2696"/>
        <pc:sldMkLst>
          <pc:docMk/>
          <pc:sldMk cId="2736376475" sldId="258"/>
        </pc:sldMkLst>
      </pc:sldChg>
      <pc:sldChg chg="new add del">
        <pc:chgData name="Pascal Kowolik" userId="37b80ec5c5a1205d" providerId="LiveId" clId="{BF740F82-ED7B-422D-8D03-ADBDB7443C9E}" dt="2021-09-21T23:33:42.750" v="2439" actId="2696"/>
        <pc:sldMkLst>
          <pc:docMk/>
          <pc:sldMk cId="88711357" sldId="259"/>
        </pc:sldMkLst>
      </pc:sldChg>
      <pc:sldChg chg="addSp modSp new add mod ord">
        <pc:chgData name="Pascal Kowolik" userId="37b80ec5c5a1205d" providerId="LiveId" clId="{BF740F82-ED7B-422D-8D03-ADBDB7443C9E}" dt="2021-09-21T23:43:39.304" v="3148"/>
        <pc:sldMkLst>
          <pc:docMk/>
          <pc:sldMk cId="940909414" sldId="259"/>
        </pc:sldMkLst>
        <pc:spChg chg="mod">
          <ac:chgData name="Pascal Kowolik" userId="37b80ec5c5a1205d" providerId="LiveId" clId="{BF740F82-ED7B-422D-8D03-ADBDB7443C9E}" dt="2021-09-21T23:34:45.252" v="2538" actId="948"/>
          <ac:spMkLst>
            <pc:docMk/>
            <pc:sldMk cId="940909414" sldId="259"/>
            <ac:spMk id="2" creationId="{31B23FDD-28BA-4FFB-A98B-E4461C7D0FF3}"/>
          </ac:spMkLst>
        </pc:spChg>
        <pc:graphicFrameChg chg="add mod ord modVis replST">
          <ac:chgData name="Pascal Kowolik" userId="37b80ec5c5a1205d" providerId="LiveId" clId="{BF740F82-ED7B-422D-8D03-ADBDB7443C9E}" dt="2021-09-21T23:34:45.271" v="2541"/>
          <ac:graphicFrameMkLst>
            <pc:docMk/>
            <pc:sldMk cId="940909414" sldId="259"/>
            <ac:graphicFrameMk id="3" creationId="{6788A093-358E-44B7-B134-C5F170033B63}"/>
          </ac:graphicFrameMkLst>
        </pc:graphicFrameChg>
      </pc:sldChg>
      <pc:sldChg chg="new add del">
        <pc:chgData name="Pascal Kowolik" userId="37b80ec5c5a1205d" providerId="LiveId" clId="{BF740F82-ED7B-422D-8D03-ADBDB7443C9E}" dt="2021-09-21T23:33:47.840" v="2442" actId="2696"/>
        <pc:sldMkLst>
          <pc:docMk/>
          <pc:sldMk cId="1548832583" sldId="259"/>
        </pc:sldMkLst>
      </pc:sldChg>
      <pc:sldChg chg="addSp modSp new add mod">
        <pc:chgData name="Pascal Kowolik" userId="37b80ec5c5a1205d" providerId="LiveId" clId="{BF740F82-ED7B-422D-8D03-ADBDB7443C9E}" dt="2021-09-21T23:43:14.509" v="3146"/>
        <pc:sldMkLst>
          <pc:docMk/>
          <pc:sldMk cId="4210132766" sldId="260"/>
        </pc:sldMkLst>
        <pc:spChg chg="mod">
          <ac:chgData name="Pascal Kowolik" userId="37b80ec5c5a1205d" providerId="LiveId" clId="{BF740F82-ED7B-422D-8D03-ADBDB7443C9E}" dt="2021-09-21T23:43:13.992" v="3143" actId="20577"/>
          <ac:spMkLst>
            <pc:docMk/>
            <pc:sldMk cId="4210132766" sldId="260"/>
            <ac:spMk id="2" creationId="{53B20489-E94D-45C6-BBB4-47515BF17B97}"/>
          </ac:spMkLst>
        </pc:spChg>
        <pc:graphicFrameChg chg="add mod ord modVis replST">
          <ac:chgData name="Pascal Kowolik" userId="37b80ec5c5a1205d" providerId="LiveId" clId="{BF740F82-ED7B-422D-8D03-ADBDB7443C9E}" dt="2021-09-21T23:43:14.509" v="3146"/>
          <ac:graphicFrameMkLst>
            <pc:docMk/>
            <pc:sldMk cId="4210132766" sldId="260"/>
            <ac:graphicFrameMk id="3" creationId="{788EAD1B-C2D9-48E4-91A0-95CEF581B25E}"/>
          </ac:graphicFrameMkLst>
        </pc:graphicFrameChg>
      </pc:sldChg>
      <pc:sldMasterChg chg="addSp delSp modSp mod addSldLayout delSldLayout modSldLayout sldLayoutOrd">
        <pc:chgData name="Pascal Kowolik" userId="37b80ec5c5a1205d" providerId="LiveId" clId="{BF740F82-ED7B-422D-8D03-ADBDB7443C9E}" dt="2021-09-21T22:50:22.473" v="233" actId="6013"/>
        <pc:sldMasterMkLst>
          <pc:docMk/>
          <pc:sldMasterMk cId="3203383963" sldId="2147483648"/>
        </pc:sldMasterMkLst>
        <pc:spChg chg="mod">
          <ac:chgData name="Pascal Kowolik" userId="37b80ec5c5a1205d" providerId="LiveId" clId="{BF740F82-ED7B-422D-8D03-ADBDB7443C9E}" dt="2021-09-21T22:33:32.572" v="5" actId="948"/>
          <ac:spMkLst>
            <pc:docMk/>
            <pc:sldMasterMk cId="3203383963" sldId="2147483648"/>
            <ac:spMk id="2" creationId="{EC3B4019-8D62-4446-8391-A6E59F5987CD}"/>
          </ac:spMkLst>
        </pc:spChg>
        <pc:spChg chg="mod">
          <ac:chgData name="Pascal Kowolik" userId="37b80ec5c5a1205d" providerId="LiveId" clId="{BF740F82-ED7B-422D-8D03-ADBDB7443C9E}" dt="2021-09-21T22:42:48.643" v="169" actId="20577"/>
          <ac:spMkLst>
            <pc:docMk/>
            <pc:sldMasterMk cId="3203383963" sldId="2147483648"/>
            <ac:spMk id="6" creationId="{58B5ED21-8094-4CAB-AAEC-B8DABA7D6E6B}"/>
          </ac:spMkLst>
        </pc:spChg>
        <pc:spChg chg="add del mod modVis">
          <ac:chgData name="Pascal Kowolik" userId="37b80ec5c5a1205d" providerId="LiveId" clId="{BF740F82-ED7B-422D-8D03-ADBDB7443C9E}" dt="2021-09-21T22:33:32.621" v="45"/>
          <ac:spMkLst>
            <pc:docMk/>
            <pc:sldMasterMk cId="3203383963" sldId="2147483648"/>
            <ac:spMk id="7" creationId="{75E4197A-A62B-4708-B4ED-E7007AE9BFB6}"/>
          </ac:spMkLst>
        </pc:spChg>
        <pc:graphicFrameChg chg="add mod ord modVis replST">
          <ac:chgData name="Pascal Kowolik" userId="37b80ec5c5a1205d" providerId="LiveId" clId="{BF740F82-ED7B-422D-8D03-ADBDB7443C9E}" dt="2021-09-21T22:33:32.661" v="61"/>
          <ac:graphicFrameMkLst>
            <pc:docMk/>
            <pc:sldMasterMk cId="3203383963" sldId="2147483648"/>
            <ac:graphicFrameMk id="8" creationId="{7ADA80E7-2136-49B1-903D-8E0F29D7DCD7}"/>
          </ac:graphicFrameMkLst>
        </pc:graphicFrameChg>
        <pc:sldLayoutChg chg="delSp mod ord setBg">
          <pc:chgData name="Pascal Kowolik" userId="37b80ec5c5a1205d" providerId="LiveId" clId="{BF740F82-ED7B-422D-8D03-ADBDB7443C9E}" dt="2021-09-21T22:50:03.004" v="231" actId="20578"/>
          <pc:sldLayoutMkLst>
            <pc:docMk/>
            <pc:sldMasterMk cId="3203383963" sldId="2147483648"/>
            <pc:sldLayoutMk cId="800074010" sldId="2147483649"/>
          </pc:sldLayoutMkLst>
          <pc:spChg chg="del">
            <ac:chgData name="Pascal Kowolik" userId="37b80ec5c5a1205d" providerId="LiveId" clId="{BF740F82-ED7B-422D-8D03-ADBDB7443C9E}" dt="2021-09-21T22:48:56.534" v="227" actId="21"/>
            <ac:spMkLst>
              <pc:docMk/>
              <pc:sldMasterMk cId="3203383963" sldId="2147483648"/>
              <pc:sldLayoutMk cId="800074010" sldId="2147483649"/>
              <ac:spMk id="4" creationId="{DEA65455-819F-4E24-AE9D-EF7DCCB1626A}"/>
            </ac:spMkLst>
          </pc:spChg>
        </pc:sldLayoutChg>
        <pc:sldLayoutChg chg="del">
          <pc:chgData name="Pascal Kowolik" userId="37b80ec5c5a1205d" providerId="LiveId" clId="{BF740F82-ED7B-422D-8D03-ADBDB7443C9E}" dt="2021-09-21T22:50:11.538" v="232" actId="2696"/>
          <pc:sldLayoutMkLst>
            <pc:docMk/>
            <pc:sldMasterMk cId="3203383963" sldId="2147483648"/>
            <pc:sldLayoutMk cId="426137993" sldId="2147483650"/>
          </pc:sldLayoutMkLst>
        </pc:sldLayoutChg>
        <pc:sldLayoutChg chg="new del mod">
          <pc:chgData name="Pascal Kowolik" userId="37b80ec5c5a1205d" providerId="LiveId" clId="{BF740F82-ED7B-422D-8D03-ADBDB7443C9E}" dt="2021-09-21T22:41:38.322" v="155" actId="2696"/>
          <pc:sldLayoutMkLst>
            <pc:docMk/>
            <pc:sldMasterMk cId="3203383963" sldId="2147483648"/>
            <pc:sldLayoutMk cId="139654253" sldId="2147483660"/>
          </pc:sldLayoutMkLst>
        </pc:sldLayoutChg>
        <pc:sldLayoutChg chg="new del mod">
          <pc:chgData name="Pascal Kowolik" userId="37b80ec5c5a1205d" providerId="LiveId" clId="{BF740F82-ED7B-422D-8D03-ADBDB7443C9E}" dt="2021-09-21T22:41:41.172" v="156" actId="2696"/>
          <pc:sldLayoutMkLst>
            <pc:docMk/>
            <pc:sldMasterMk cId="3203383963" sldId="2147483648"/>
            <pc:sldLayoutMk cId="420433785" sldId="2147483661"/>
          </pc:sldLayoutMkLst>
        </pc:sldLayoutChg>
      </pc:sldMasterChg>
      <pc:sldMasterChg chg="addSp modSp new del mod addSldLayout delSldLayout">
        <pc:chgData name="Pascal Kowolik" userId="37b80ec5c5a1205d" providerId="LiveId" clId="{BF740F82-ED7B-422D-8D03-ADBDB7443C9E}" dt="2021-09-21T22:33:57.079" v="92" actId="2696"/>
        <pc:sldMasterMkLst>
          <pc:docMk/>
          <pc:sldMasterMk cId="840929286" sldId="2147483660"/>
        </pc:sldMasterMkLst>
        <pc:spChg chg="add mod">
          <ac:chgData name="Pascal Kowolik" userId="37b80ec5c5a1205d" providerId="LiveId" clId="{BF740F82-ED7B-422D-8D03-ADBDB7443C9E}" dt="2021-09-21T22:33:53.934" v="80"/>
          <ac:spMkLst>
            <pc:docMk/>
            <pc:sldMasterMk cId="840929286" sldId="2147483660"/>
            <ac:spMk id="2" creationId="{5A13A285-B6A0-4EBB-BDF2-71775F27A4A9}"/>
          </ac:spMkLst>
        </pc:spChg>
        <pc:spChg chg="add mod">
          <ac:chgData name="Pascal Kowolik" userId="37b80ec5c5a1205d" providerId="LiveId" clId="{BF740F82-ED7B-422D-8D03-ADBDB7443C9E}" dt="2021-09-21T22:33:53.934" v="80"/>
          <ac:spMkLst>
            <pc:docMk/>
            <pc:sldMasterMk cId="840929286" sldId="2147483660"/>
            <ac:spMk id="3" creationId="{D22C971A-42A9-4546-A677-CB8075586FD9}"/>
          </ac:spMkLst>
        </pc:spChg>
        <pc:spChg chg="add mod">
          <ac:chgData name="Pascal Kowolik" userId="37b80ec5c5a1205d" providerId="LiveId" clId="{BF740F82-ED7B-422D-8D03-ADBDB7443C9E}" dt="2021-09-21T22:33:53.934" v="80"/>
          <ac:spMkLst>
            <pc:docMk/>
            <pc:sldMasterMk cId="840929286" sldId="2147483660"/>
            <ac:spMk id="4" creationId="{9790A1A7-7FA4-4845-B2E1-424121AA259F}"/>
          </ac:spMkLst>
        </pc:spChg>
        <pc:spChg chg="add mod">
          <ac:chgData name="Pascal Kowolik" userId="37b80ec5c5a1205d" providerId="LiveId" clId="{BF740F82-ED7B-422D-8D03-ADBDB7443C9E}" dt="2021-09-21T22:33:53.934" v="80"/>
          <ac:spMkLst>
            <pc:docMk/>
            <pc:sldMasterMk cId="840929286" sldId="2147483660"/>
            <ac:spMk id="5" creationId="{363A21D6-A956-427D-9988-EADEE289F2D9}"/>
          </ac:spMkLst>
        </pc:spChg>
        <pc:spChg chg="add mod">
          <ac:chgData name="Pascal Kowolik" userId="37b80ec5c5a1205d" providerId="LiveId" clId="{BF740F82-ED7B-422D-8D03-ADBDB7443C9E}" dt="2021-09-21T22:33:53.934" v="80"/>
          <ac:spMkLst>
            <pc:docMk/>
            <pc:sldMasterMk cId="840929286" sldId="2147483660"/>
            <ac:spMk id="6" creationId="{FC380E65-C8FE-4220-88A5-435BE175BF91}"/>
          </ac:spMkLst>
        </pc:spChg>
        <pc:sldLayoutChg chg="new del replId">
          <pc:chgData name="Pascal Kowolik" userId="37b80ec5c5a1205d" providerId="LiveId" clId="{BF740F82-ED7B-422D-8D03-ADBDB7443C9E}" dt="2021-09-21T22:33:57.047" v="81" actId="2696"/>
          <pc:sldLayoutMkLst>
            <pc:docMk/>
            <pc:sldMasterMk cId="840929286" sldId="2147483660"/>
            <pc:sldLayoutMk cId="397012682" sldId="2147483661"/>
          </pc:sldLayoutMkLst>
        </pc:sldLayoutChg>
        <pc:sldLayoutChg chg="new del replId">
          <pc:chgData name="Pascal Kowolik" userId="37b80ec5c5a1205d" providerId="LiveId" clId="{BF740F82-ED7B-422D-8D03-ADBDB7443C9E}" dt="2021-09-21T22:33:57.047" v="82" actId="2696"/>
          <pc:sldLayoutMkLst>
            <pc:docMk/>
            <pc:sldMasterMk cId="840929286" sldId="2147483660"/>
            <pc:sldLayoutMk cId="308383358" sldId="2147483662"/>
          </pc:sldLayoutMkLst>
        </pc:sldLayoutChg>
        <pc:sldLayoutChg chg="new del replId">
          <pc:chgData name="Pascal Kowolik" userId="37b80ec5c5a1205d" providerId="LiveId" clId="{BF740F82-ED7B-422D-8D03-ADBDB7443C9E}" dt="2021-09-21T22:33:57.063" v="83" actId="2696"/>
          <pc:sldLayoutMkLst>
            <pc:docMk/>
            <pc:sldMasterMk cId="840929286" sldId="2147483660"/>
            <pc:sldLayoutMk cId="1780916867" sldId="2147483663"/>
          </pc:sldLayoutMkLst>
        </pc:sldLayoutChg>
        <pc:sldLayoutChg chg="new del replId">
          <pc:chgData name="Pascal Kowolik" userId="37b80ec5c5a1205d" providerId="LiveId" clId="{BF740F82-ED7B-422D-8D03-ADBDB7443C9E}" dt="2021-09-21T22:33:57.063" v="84" actId="2696"/>
          <pc:sldLayoutMkLst>
            <pc:docMk/>
            <pc:sldMasterMk cId="840929286" sldId="2147483660"/>
            <pc:sldLayoutMk cId="2744187373" sldId="2147483664"/>
          </pc:sldLayoutMkLst>
        </pc:sldLayoutChg>
        <pc:sldLayoutChg chg="new del replId">
          <pc:chgData name="Pascal Kowolik" userId="37b80ec5c5a1205d" providerId="LiveId" clId="{BF740F82-ED7B-422D-8D03-ADBDB7443C9E}" dt="2021-09-21T22:33:57.063" v="85" actId="2696"/>
          <pc:sldLayoutMkLst>
            <pc:docMk/>
            <pc:sldMasterMk cId="840929286" sldId="2147483660"/>
            <pc:sldLayoutMk cId="934199011" sldId="2147483665"/>
          </pc:sldLayoutMkLst>
        </pc:sldLayoutChg>
        <pc:sldLayoutChg chg="new del replId">
          <pc:chgData name="Pascal Kowolik" userId="37b80ec5c5a1205d" providerId="LiveId" clId="{BF740F82-ED7B-422D-8D03-ADBDB7443C9E}" dt="2021-09-21T22:33:57.063" v="86" actId="2696"/>
          <pc:sldLayoutMkLst>
            <pc:docMk/>
            <pc:sldMasterMk cId="840929286" sldId="2147483660"/>
            <pc:sldLayoutMk cId="3103580072" sldId="2147483666"/>
          </pc:sldLayoutMkLst>
        </pc:sldLayoutChg>
        <pc:sldLayoutChg chg="new del replId">
          <pc:chgData name="Pascal Kowolik" userId="37b80ec5c5a1205d" providerId="LiveId" clId="{BF740F82-ED7B-422D-8D03-ADBDB7443C9E}" dt="2021-09-21T22:33:57.063" v="87" actId="2696"/>
          <pc:sldLayoutMkLst>
            <pc:docMk/>
            <pc:sldMasterMk cId="840929286" sldId="2147483660"/>
            <pc:sldLayoutMk cId="4029320132" sldId="2147483667"/>
          </pc:sldLayoutMkLst>
        </pc:sldLayoutChg>
        <pc:sldLayoutChg chg="new del replId">
          <pc:chgData name="Pascal Kowolik" userId="37b80ec5c5a1205d" providerId="LiveId" clId="{BF740F82-ED7B-422D-8D03-ADBDB7443C9E}" dt="2021-09-21T22:33:57.063" v="88" actId="2696"/>
          <pc:sldLayoutMkLst>
            <pc:docMk/>
            <pc:sldMasterMk cId="840929286" sldId="2147483660"/>
            <pc:sldLayoutMk cId="3941686992" sldId="2147483668"/>
          </pc:sldLayoutMkLst>
        </pc:sldLayoutChg>
        <pc:sldLayoutChg chg="new del replId">
          <pc:chgData name="Pascal Kowolik" userId="37b80ec5c5a1205d" providerId="LiveId" clId="{BF740F82-ED7B-422D-8D03-ADBDB7443C9E}" dt="2021-09-21T22:33:57.079" v="89" actId="2696"/>
          <pc:sldLayoutMkLst>
            <pc:docMk/>
            <pc:sldMasterMk cId="840929286" sldId="2147483660"/>
            <pc:sldLayoutMk cId="983559067" sldId="2147483669"/>
          </pc:sldLayoutMkLst>
        </pc:sldLayoutChg>
        <pc:sldLayoutChg chg="new del replId">
          <pc:chgData name="Pascal Kowolik" userId="37b80ec5c5a1205d" providerId="LiveId" clId="{BF740F82-ED7B-422D-8D03-ADBDB7443C9E}" dt="2021-09-21T22:33:57.079" v="90" actId="2696"/>
          <pc:sldLayoutMkLst>
            <pc:docMk/>
            <pc:sldMasterMk cId="840929286" sldId="2147483660"/>
            <pc:sldLayoutMk cId="541881488" sldId="2147483670"/>
          </pc:sldLayoutMkLst>
        </pc:sldLayoutChg>
        <pc:sldLayoutChg chg="new del replId">
          <pc:chgData name="Pascal Kowolik" userId="37b80ec5c5a1205d" providerId="LiveId" clId="{BF740F82-ED7B-422D-8D03-ADBDB7443C9E}" dt="2021-09-21T22:33:57.079" v="91" actId="2696"/>
          <pc:sldLayoutMkLst>
            <pc:docMk/>
            <pc:sldMasterMk cId="840929286" sldId="2147483660"/>
            <pc:sldLayoutMk cId="3950911947" sldId="2147483671"/>
          </pc:sldLayoutMkLst>
        </pc:sldLayoutChg>
      </pc:sldMasterChg>
      <pc:sldMasterChg chg="addSp">
        <pc:chgData name="Pascal Kowolik" userId="37b80ec5c5a1205d" providerId="LiveId" clId="{BF740F82-ED7B-422D-8D03-ADBDB7443C9E}" dt="2021-09-21T22:45:54.648" v="182"/>
        <pc:sldMasterMkLst>
          <pc:docMk/>
          <pc:sldMasterMk cId="1471068680" sldId="2147483660"/>
        </pc:sldMasterMkLst>
        <pc:graphicFrameChg chg="add">
          <ac:chgData name="Pascal Kowolik" userId="37b80ec5c5a1205d" providerId="LiveId" clId="{BF740F82-ED7B-422D-8D03-ADBDB7443C9E}" dt="2021-09-21T22:45:54.648" v="182"/>
          <ac:graphicFrameMkLst>
            <pc:docMk/>
            <pc:sldMasterMk cId="1471068680" sldId="2147483660"/>
            <ac:graphicFrameMk id="7" creationId="{D8257F32-BA9F-46BA-8CAB-9982357E93D2}"/>
          </ac:graphicFrameMkLst>
        </pc:graphicFrameChg>
      </pc:sldMasterChg>
      <pc:sldMasterChg chg="addSp del delSldLayout">
        <pc:chgData name="Pascal Kowolik" userId="37b80ec5c5a1205d" providerId="LiveId" clId="{BF740F82-ED7B-422D-8D03-ADBDB7443C9E}" dt="2021-09-21T22:46:36.490" v="226" actId="2696"/>
        <pc:sldMasterMkLst>
          <pc:docMk/>
          <pc:sldMasterMk cId="1616821029" sldId="2147483660"/>
        </pc:sldMasterMkLst>
        <pc:graphicFrameChg chg="add">
          <ac:chgData name="Pascal Kowolik" userId="37b80ec5c5a1205d" providerId="LiveId" clId="{BF740F82-ED7B-422D-8D03-ADBDB7443C9E}" dt="2021-09-21T22:46:16.876" v="222"/>
          <ac:graphicFrameMkLst>
            <pc:docMk/>
            <pc:sldMasterMk cId="1616821029" sldId="2147483660"/>
            <ac:graphicFrameMk id="7" creationId="{07009B4C-347E-4476-817E-A8E1EB454B4C}"/>
          </ac:graphicFrameMkLst>
        </pc:graphicFrameChg>
        <pc:sldLayoutChg chg="del">
          <pc:chgData name="Pascal Kowolik" userId="37b80ec5c5a1205d" providerId="LiveId" clId="{BF740F82-ED7B-422D-8D03-ADBDB7443C9E}" dt="2021-09-21T22:46:36.490" v="226" actId="2696"/>
          <pc:sldLayoutMkLst>
            <pc:docMk/>
            <pc:sldMasterMk cId="1616821029" sldId="2147483660"/>
            <pc:sldLayoutMk cId="906652883" sldId="2147483661"/>
          </pc:sldLayoutMkLst>
        </pc:sldLayoutChg>
        <pc:sldLayoutChg chg="del">
          <pc:chgData name="Pascal Kowolik" userId="37b80ec5c5a1205d" providerId="LiveId" clId="{BF740F82-ED7B-422D-8D03-ADBDB7443C9E}" dt="2021-09-21T22:46:36.490" v="226" actId="2696"/>
          <pc:sldLayoutMkLst>
            <pc:docMk/>
            <pc:sldMasterMk cId="1616821029" sldId="2147483660"/>
            <pc:sldLayoutMk cId="4003348296" sldId="2147483662"/>
          </pc:sldLayoutMkLst>
        </pc:sldLayoutChg>
        <pc:sldLayoutChg chg="del">
          <pc:chgData name="Pascal Kowolik" userId="37b80ec5c5a1205d" providerId="LiveId" clId="{BF740F82-ED7B-422D-8D03-ADBDB7443C9E}" dt="2021-09-21T22:46:36.490" v="226" actId="2696"/>
          <pc:sldLayoutMkLst>
            <pc:docMk/>
            <pc:sldMasterMk cId="1616821029" sldId="2147483660"/>
            <pc:sldLayoutMk cId="3246986633" sldId="2147483663"/>
          </pc:sldLayoutMkLst>
        </pc:sldLayoutChg>
        <pc:sldLayoutChg chg="del">
          <pc:chgData name="Pascal Kowolik" userId="37b80ec5c5a1205d" providerId="LiveId" clId="{BF740F82-ED7B-422D-8D03-ADBDB7443C9E}" dt="2021-09-21T22:46:36.490" v="226" actId="2696"/>
          <pc:sldLayoutMkLst>
            <pc:docMk/>
            <pc:sldMasterMk cId="1616821029" sldId="2147483660"/>
            <pc:sldLayoutMk cId="1210994268" sldId="2147483664"/>
          </pc:sldLayoutMkLst>
        </pc:sldLayoutChg>
        <pc:sldLayoutChg chg="del">
          <pc:chgData name="Pascal Kowolik" userId="37b80ec5c5a1205d" providerId="LiveId" clId="{BF740F82-ED7B-422D-8D03-ADBDB7443C9E}" dt="2021-09-21T22:46:36.490" v="226" actId="2696"/>
          <pc:sldLayoutMkLst>
            <pc:docMk/>
            <pc:sldMasterMk cId="1616821029" sldId="2147483660"/>
            <pc:sldLayoutMk cId="3745238251" sldId="2147483665"/>
          </pc:sldLayoutMkLst>
        </pc:sldLayoutChg>
        <pc:sldLayoutChg chg="del">
          <pc:chgData name="Pascal Kowolik" userId="37b80ec5c5a1205d" providerId="LiveId" clId="{BF740F82-ED7B-422D-8D03-ADBDB7443C9E}" dt="2021-09-21T22:46:36.490" v="226" actId="2696"/>
          <pc:sldLayoutMkLst>
            <pc:docMk/>
            <pc:sldMasterMk cId="1616821029" sldId="2147483660"/>
            <pc:sldLayoutMk cId="2753116911" sldId="2147483666"/>
          </pc:sldLayoutMkLst>
        </pc:sldLayoutChg>
        <pc:sldLayoutChg chg="del">
          <pc:chgData name="Pascal Kowolik" userId="37b80ec5c5a1205d" providerId="LiveId" clId="{BF740F82-ED7B-422D-8D03-ADBDB7443C9E}" dt="2021-09-21T22:46:36.490" v="226" actId="2696"/>
          <pc:sldLayoutMkLst>
            <pc:docMk/>
            <pc:sldMasterMk cId="1616821029" sldId="2147483660"/>
            <pc:sldLayoutMk cId="1286214576" sldId="2147483667"/>
          </pc:sldLayoutMkLst>
        </pc:sldLayoutChg>
        <pc:sldLayoutChg chg="del">
          <pc:chgData name="Pascal Kowolik" userId="37b80ec5c5a1205d" providerId="LiveId" clId="{BF740F82-ED7B-422D-8D03-ADBDB7443C9E}" dt="2021-09-21T22:46:36.490" v="226" actId="2696"/>
          <pc:sldLayoutMkLst>
            <pc:docMk/>
            <pc:sldMasterMk cId="1616821029" sldId="2147483660"/>
            <pc:sldLayoutMk cId="2059286523" sldId="2147483668"/>
          </pc:sldLayoutMkLst>
        </pc:sldLayoutChg>
        <pc:sldLayoutChg chg="del">
          <pc:chgData name="Pascal Kowolik" userId="37b80ec5c5a1205d" providerId="LiveId" clId="{BF740F82-ED7B-422D-8D03-ADBDB7443C9E}" dt="2021-09-21T22:46:36.490" v="226" actId="2696"/>
          <pc:sldLayoutMkLst>
            <pc:docMk/>
            <pc:sldMasterMk cId="1616821029" sldId="2147483660"/>
            <pc:sldLayoutMk cId="3057495503" sldId="2147483669"/>
          </pc:sldLayoutMkLst>
        </pc:sldLayoutChg>
        <pc:sldLayoutChg chg="del">
          <pc:chgData name="Pascal Kowolik" userId="37b80ec5c5a1205d" providerId="LiveId" clId="{BF740F82-ED7B-422D-8D03-ADBDB7443C9E}" dt="2021-09-21T22:46:36.490" v="226" actId="2696"/>
          <pc:sldLayoutMkLst>
            <pc:docMk/>
            <pc:sldMasterMk cId="1616821029" sldId="2147483660"/>
            <pc:sldLayoutMk cId="4233897253" sldId="2147483670"/>
          </pc:sldLayoutMkLst>
        </pc:sldLayoutChg>
        <pc:sldLayoutChg chg="del">
          <pc:chgData name="Pascal Kowolik" userId="37b80ec5c5a1205d" providerId="LiveId" clId="{BF740F82-ED7B-422D-8D03-ADBDB7443C9E}" dt="2021-09-21T22:46:36.490" v="226" actId="2696"/>
          <pc:sldLayoutMkLst>
            <pc:docMk/>
            <pc:sldMasterMk cId="1616821029" sldId="2147483660"/>
            <pc:sldLayoutMk cId="3132143904" sldId="2147483671"/>
          </pc:sldLayoutMkLst>
        </pc:sldLayoutChg>
      </pc:sldMasterChg>
      <pc:sldMasterChg chg="addSp delSp modSp new mod setBg addSldLayout delSldLayout modSldLayout">
        <pc:chgData name="Pascal Kowolik" userId="37b80ec5c5a1205d" providerId="LiveId" clId="{BF740F82-ED7B-422D-8D03-ADBDB7443C9E}" dt="2021-09-21T23:42:34.812" v="3113"/>
        <pc:sldMasterMkLst>
          <pc:docMk/>
          <pc:sldMasterMk cId="2480497422" sldId="2147483660"/>
        </pc:sldMasterMkLst>
        <pc:spChg chg="add mod ord">
          <ac:chgData name="Pascal Kowolik" userId="37b80ec5c5a1205d" providerId="LiveId" clId="{BF740F82-ED7B-422D-8D03-ADBDB7443C9E}" dt="2021-09-21T22:51:47.467" v="367"/>
          <ac:spMkLst>
            <pc:docMk/>
            <pc:sldMasterMk cId="2480497422" sldId="2147483660"/>
            <ac:spMk id="2" creationId="{91C2C3A4-4D00-49E8-B9A0-D903A5EC985F}"/>
          </ac:spMkLst>
        </pc:spChg>
        <pc:spChg chg="add mod ord">
          <ac:chgData name="Pascal Kowolik" userId="37b80ec5c5a1205d" providerId="LiveId" clId="{BF740F82-ED7B-422D-8D03-ADBDB7443C9E}" dt="2021-09-21T22:51:47.467" v="369"/>
          <ac:spMkLst>
            <pc:docMk/>
            <pc:sldMasterMk cId="2480497422" sldId="2147483660"/>
            <ac:spMk id="3" creationId="{C23C7792-E4EC-4AC3-B73A-34A741E142D5}"/>
          </ac:spMkLst>
        </pc:spChg>
        <pc:spChg chg="add del mod">
          <ac:chgData name="Pascal Kowolik" userId="37b80ec5c5a1205d" providerId="LiveId" clId="{BF740F82-ED7B-422D-8D03-ADBDB7443C9E}" dt="2021-09-21T22:50:47.382" v="312" actId="21"/>
          <ac:spMkLst>
            <pc:docMk/>
            <pc:sldMasterMk cId="2480497422" sldId="2147483660"/>
            <ac:spMk id="4" creationId="{A028C2BF-D5E0-4713-81E8-518A440A004D}"/>
          </ac:spMkLst>
        </pc:spChg>
        <pc:spChg chg="add mod ord">
          <ac:chgData name="Pascal Kowolik" userId="37b80ec5c5a1205d" providerId="LiveId" clId="{BF740F82-ED7B-422D-8D03-ADBDB7443C9E}" dt="2021-09-21T22:51:47.467" v="371"/>
          <ac:spMkLst>
            <pc:docMk/>
            <pc:sldMasterMk cId="2480497422" sldId="2147483660"/>
            <ac:spMk id="5" creationId="{25126055-DD80-4BED-843A-EC27BE904E74}"/>
          </ac:spMkLst>
        </pc:spChg>
        <pc:spChg chg="add mod ord">
          <ac:chgData name="Pascal Kowolik" userId="37b80ec5c5a1205d" providerId="LiveId" clId="{BF740F82-ED7B-422D-8D03-ADBDB7443C9E}" dt="2021-09-21T22:51:47.483" v="373"/>
          <ac:spMkLst>
            <pc:docMk/>
            <pc:sldMasterMk cId="2480497422" sldId="2147483660"/>
            <ac:spMk id="6" creationId="{CB56F630-25C8-4B53-BB12-87176A408803}"/>
          </ac:spMkLst>
        </pc:spChg>
        <pc:spChg chg="add del mod modVis">
          <ac:chgData name="Pascal Kowolik" userId="37b80ec5c5a1205d" providerId="LiveId" clId="{BF740F82-ED7B-422D-8D03-ADBDB7443C9E}" dt="2021-09-21T22:50:31.637" v="277"/>
          <ac:spMkLst>
            <pc:docMk/>
            <pc:sldMasterMk cId="2480497422" sldId="2147483660"/>
            <ac:spMk id="7" creationId="{811287E5-8D21-4A35-A12F-08DEBE38A8F9}"/>
          </ac:spMkLst>
        </pc:spChg>
        <pc:spChg chg="add del mod ord">
          <ac:chgData name="Pascal Kowolik" userId="37b80ec5c5a1205d" providerId="LiveId" clId="{BF740F82-ED7B-422D-8D03-ADBDB7443C9E}" dt="2021-09-21T22:57:57.348" v="696" actId="21"/>
          <ac:spMkLst>
            <pc:docMk/>
            <pc:sldMasterMk cId="2480497422" sldId="2147483660"/>
            <ac:spMk id="9" creationId="{B3CF64E3-0B75-4FEF-A518-8CC395274A8A}"/>
          </ac:spMkLst>
        </pc:spChg>
        <pc:graphicFrameChg chg="add mod ord modVis replST">
          <ac:chgData name="Pascal Kowolik" userId="37b80ec5c5a1205d" providerId="LiveId" clId="{BF740F82-ED7B-422D-8D03-ADBDB7443C9E}" dt="2021-09-21T22:51:47.483" v="376"/>
          <ac:graphicFrameMkLst>
            <pc:docMk/>
            <pc:sldMasterMk cId="2480497422" sldId="2147483660"/>
            <ac:graphicFrameMk id="8" creationId="{302D7D1B-3C7A-40A6-A354-6235872A294E}"/>
          </ac:graphicFrameMkLst>
        </pc:graphicFrameChg>
        <pc:sldLayoutChg chg="addSp delSp modSp new mod replId setBg">
          <pc:chgData name="Pascal Kowolik" userId="37b80ec5c5a1205d" providerId="LiveId" clId="{BF740F82-ED7B-422D-8D03-ADBDB7443C9E}" dt="2021-09-21T23:42:31.080" v="3112" actId="21"/>
          <pc:sldLayoutMkLst>
            <pc:docMk/>
            <pc:sldMasterMk cId="2480497422" sldId="2147483660"/>
            <pc:sldLayoutMk cId="3627172429" sldId="2147483661"/>
          </pc:sldLayoutMkLst>
          <pc:spChg chg="mod">
            <ac:chgData name="Pascal Kowolik" userId="37b80ec5c5a1205d" providerId="LiveId" clId="{BF740F82-ED7B-422D-8D03-ADBDB7443C9E}" dt="2021-09-21T22:58:35.252" v="701" actId="948"/>
            <ac:spMkLst>
              <pc:docMk/>
              <pc:sldMasterMk cId="2480497422" sldId="2147483660"/>
              <pc:sldLayoutMk cId="3627172429" sldId="2147483661"/>
              <ac:spMk id="2" creationId="{58EB7ECD-34B2-46F7-85F1-F41486D260AD}"/>
            </ac:spMkLst>
          </pc:spChg>
          <pc:spChg chg="del">
            <ac:chgData name="Pascal Kowolik" userId="37b80ec5c5a1205d" providerId="LiveId" clId="{BF740F82-ED7B-422D-8D03-ADBDB7443C9E}" dt="2021-09-21T22:58:27.126" v="699" actId="21"/>
            <ac:spMkLst>
              <pc:docMk/>
              <pc:sldMasterMk cId="2480497422" sldId="2147483660"/>
              <pc:sldLayoutMk cId="3627172429" sldId="2147483661"/>
              <ac:spMk id="3" creationId="{DECC8D27-C57C-4D00-9127-A4EB79B9B013}"/>
            </ac:spMkLst>
          </pc:spChg>
          <pc:spChg chg="del">
            <ac:chgData name="Pascal Kowolik" userId="37b80ec5c5a1205d" providerId="LiveId" clId="{BF740F82-ED7B-422D-8D03-ADBDB7443C9E}" dt="2021-09-21T22:55:31.085" v="472" actId="21"/>
            <ac:spMkLst>
              <pc:docMk/>
              <pc:sldMasterMk cId="2480497422" sldId="2147483660"/>
              <pc:sldLayoutMk cId="3627172429" sldId="2147483661"/>
              <ac:spMk id="4" creationId="{74097629-E606-42F7-A723-993E6DA2F7DA}"/>
            </ac:spMkLst>
          </pc:spChg>
          <pc:spChg chg="del">
            <ac:chgData name="Pascal Kowolik" userId="37b80ec5c5a1205d" providerId="LiveId" clId="{BF740F82-ED7B-422D-8D03-ADBDB7443C9E}" dt="2021-09-21T22:59:09.112" v="818" actId="21"/>
            <ac:spMkLst>
              <pc:docMk/>
              <pc:sldMasterMk cId="2480497422" sldId="2147483660"/>
              <pc:sldLayoutMk cId="3627172429" sldId="2147483661"/>
              <ac:spMk id="5" creationId="{041AC45B-D3EF-42CE-992B-02DF30EB284A}"/>
            </ac:spMkLst>
          </pc:spChg>
          <pc:spChg chg="mod">
            <ac:chgData name="Pascal Kowolik" userId="37b80ec5c5a1205d" providerId="LiveId" clId="{BF740F82-ED7B-422D-8D03-ADBDB7443C9E}" dt="2021-09-21T22:54:54.801" v="470" actId="14100"/>
            <ac:spMkLst>
              <pc:docMk/>
              <pc:sldMasterMk cId="2480497422" sldId="2147483660"/>
              <pc:sldLayoutMk cId="3627172429" sldId="2147483661"/>
              <ac:spMk id="6" creationId="{CEEC28D8-0503-4195-B212-DCBA5C8E6710}"/>
            </ac:spMkLst>
          </pc:spChg>
          <pc:spChg chg="add del mod modVis">
            <ac:chgData name="Pascal Kowolik" userId="37b80ec5c5a1205d" providerId="LiveId" clId="{BF740F82-ED7B-422D-8D03-ADBDB7443C9E}" dt="2021-09-21T22:58:35.283" v="741"/>
            <ac:spMkLst>
              <pc:docMk/>
              <pc:sldMasterMk cId="2480497422" sldId="2147483660"/>
              <pc:sldLayoutMk cId="3627172429" sldId="2147483661"/>
              <ac:spMk id="7" creationId="{5B81FE0C-6ACB-4DE0-9CF1-D3D5A06274D5}"/>
            </ac:spMkLst>
          </pc:spChg>
          <pc:spChg chg="add del mod">
            <ac:chgData name="Pascal Kowolik" userId="37b80ec5c5a1205d" providerId="LiveId" clId="{BF740F82-ED7B-422D-8D03-ADBDB7443C9E}" dt="2021-09-21T23:40:43.695" v="3047" actId="21"/>
            <ac:spMkLst>
              <pc:docMk/>
              <pc:sldMasterMk cId="2480497422" sldId="2147483660"/>
              <pc:sldLayoutMk cId="3627172429" sldId="2147483661"/>
              <ac:spMk id="9" creationId="{AF9B6F0E-8F5D-4326-BB47-457539B7FF7F}"/>
            </ac:spMkLst>
          </pc:spChg>
          <pc:spChg chg="add del mod">
            <ac:chgData name="Pascal Kowolik" userId="37b80ec5c5a1205d" providerId="LiveId" clId="{BF740F82-ED7B-422D-8D03-ADBDB7443C9E}" dt="2021-09-21T23:40:49.865" v="3049" actId="21"/>
            <ac:spMkLst>
              <pc:docMk/>
              <pc:sldMasterMk cId="2480497422" sldId="2147483660"/>
              <pc:sldLayoutMk cId="3627172429" sldId="2147483661"/>
              <ac:spMk id="10" creationId="{4E760752-4E8B-419E-B31B-FA3D79DBEDE2}"/>
            </ac:spMkLst>
          </pc:spChg>
          <pc:spChg chg="add del mod">
            <ac:chgData name="Pascal Kowolik" userId="37b80ec5c5a1205d" providerId="LiveId" clId="{BF740F82-ED7B-422D-8D03-ADBDB7443C9E}" dt="2021-09-21T23:42:31.080" v="3112" actId="21"/>
            <ac:spMkLst>
              <pc:docMk/>
              <pc:sldMasterMk cId="2480497422" sldId="2147483660"/>
              <pc:sldLayoutMk cId="3627172429" sldId="2147483661"/>
              <ac:spMk id="11" creationId="{8F1EE094-5EAF-46C2-8401-89DB01EE8052}"/>
            </ac:spMkLst>
          </pc:spChg>
          <pc:graphicFrameChg chg="add mod ord modVis replST">
            <ac:chgData name="Pascal Kowolik" userId="37b80ec5c5a1205d" providerId="LiveId" clId="{BF740F82-ED7B-422D-8D03-ADBDB7443C9E}" dt="2021-09-21T22:58:35.330" v="757"/>
            <ac:graphicFrameMkLst>
              <pc:docMk/>
              <pc:sldMasterMk cId="2480497422" sldId="2147483660"/>
              <pc:sldLayoutMk cId="3627172429" sldId="2147483661"/>
              <ac:graphicFrameMk id="8" creationId="{836BEFCF-1B8A-41B6-8BA7-6406A20C7E88}"/>
            </ac:graphicFrameMkLst>
          </pc:graphicFrameChg>
        </pc:sldLayoutChg>
        <pc:sldLayoutChg chg="addSp delSp modSp new mod replId">
          <pc:chgData name="Pascal Kowolik" userId="37b80ec5c5a1205d" providerId="LiveId" clId="{BF740F82-ED7B-422D-8D03-ADBDB7443C9E}" dt="2021-09-21T23:37:33.582" v="2786" actId="207"/>
          <pc:sldLayoutMkLst>
            <pc:docMk/>
            <pc:sldMasterMk cId="2480497422" sldId="2147483660"/>
            <pc:sldLayoutMk cId="56629427" sldId="2147483662"/>
          </pc:sldLayoutMkLst>
          <pc:spChg chg="mod">
            <ac:chgData name="Pascal Kowolik" userId="37b80ec5c5a1205d" providerId="LiveId" clId="{BF740F82-ED7B-422D-8D03-ADBDB7443C9E}" dt="2021-09-21T23:34:38.240" v="2495" actId="948"/>
            <ac:spMkLst>
              <pc:docMk/>
              <pc:sldMasterMk cId="2480497422" sldId="2147483660"/>
              <pc:sldLayoutMk cId="56629427" sldId="2147483662"/>
              <ac:spMk id="2" creationId="{CC6395B5-E2CB-4953-A43A-F7E01D285F3C}"/>
            </ac:spMkLst>
          </pc:spChg>
          <pc:spChg chg="del">
            <ac:chgData name="Pascal Kowolik" userId="37b80ec5c5a1205d" providerId="LiveId" clId="{BF740F82-ED7B-422D-8D03-ADBDB7443C9E}" dt="2021-09-21T22:56:06.907" v="664" actId="21"/>
            <ac:spMkLst>
              <pc:docMk/>
              <pc:sldMasterMk cId="2480497422" sldId="2147483660"/>
              <pc:sldLayoutMk cId="56629427" sldId="2147483662"/>
              <ac:spMk id="3" creationId="{FC416122-A5B4-4676-BFE5-5C728141F101}"/>
            </ac:spMkLst>
          </pc:spChg>
          <pc:spChg chg="del">
            <ac:chgData name="Pascal Kowolik" userId="37b80ec5c5a1205d" providerId="LiveId" clId="{BF740F82-ED7B-422D-8D03-ADBDB7443C9E}" dt="2021-09-21T22:55:38.911" v="473" actId="21"/>
            <ac:spMkLst>
              <pc:docMk/>
              <pc:sldMasterMk cId="2480497422" sldId="2147483660"/>
              <pc:sldLayoutMk cId="56629427" sldId="2147483662"/>
              <ac:spMk id="4" creationId="{8DDE9080-558B-46A7-98D6-031DE284C821}"/>
            </ac:spMkLst>
          </pc:spChg>
          <pc:spChg chg="add del mod modVis">
            <ac:chgData name="Pascal Kowolik" userId="37b80ec5c5a1205d" providerId="LiveId" clId="{BF740F82-ED7B-422D-8D03-ADBDB7443C9E}" dt="2021-09-21T22:55:52.877" v="515"/>
            <ac:spMkLst>
              <pc:docMk/>
              <pc:sldMasterMk cId="2480497422" sldId="2147483660"/>
              <pc:sldLayoutMk cId="56629427" sldId="2147483662"/>
              <ac:spMk id="7" creationId="{4CF4F203-F4D3-41EB-A88B-180A0333F1A2}"/>
            </ac:spMkLst>
          </pc:spChg>
          <pc:spChg chg="add del mod modVis">
            <ac:chgData name="Pascal Kowolik" userId="37b80ec5c5a1205d" providerId="LiveId" clId="{BF740F82-ED7B-422D-8D03-ADBDB7443C9E}" dt="2021-09-21T22:55:55.392" v="573"/>
            <ac:spMkLst>
              <pc:docMk/>
              <pc:sldMasterMk cId="2480497422" sldId="2147483660"/>
              <pc:sldLayoutMk cId="56629427" sldId="2147483662"/>
              <ac:spMk id="9" creationId="{486EB03A-99B1-46E6-BFD6-37FF8AF15BE4}"/>
            </ac:spMkLst>
          </pc:spChg>
          <pc:spChg chg="add del mod modVis">
            <ac:chgData name="Pascal Kowolik" userId="37b80ec5c5a1205d" providerId="LiveId" clId="{BF740F82-ED7B-422D-8D03-ADBDB7443C9E}" dt="2021-09-21T22:55:58.803" v="617"/>
            <ac:spMkLst>
              <pc:docMk/>
              <pc:sldMasterMk cId="2480497422" sldId="2147483660"/>
              <pc:sldLayoutMk cId="56629427" sldId="2147483662"/>
              <ac:spMk id="10" creationId="{A81BDC94-3BD6-4281-BDA6-E883F79FACCB}"/>
            </ac:spMkLst>
          </pc:spChg>
          <pc:spChg chg="add del mod modVis">
            <ac:chgData name="Pascal Kowolik" userId="37b80ec5c5a1205d" providerId="LiveId" clId="{BF740F82-ED7B-422D-8D03-ADBDB7443C9E}" dt="2021-09-21T22:56:03.917" v="661"/>
            <ac:spMkLst>
              <pc:docMk/>
              <pc:sldMasterMk cId="2480497422" sldId="2147483660"/>
              <pc:sldLayoutMk cId="56629427" sldId="2147483662"/>
              <ac:spMk id="11" creationId="{F07A3C91-239B-4DEC-A00C-19EA40BCA85F}"/>
            </ac:spMkLst>
          </pc:spChg>
          <pc:spChg chg="add del mod modVis">
            <ac:chgData name="Pascal Kowolik" userId="37b80ec5c5a1205d" providerId="LiveId" clId="{BF740F82-ED7B-422D-8D03-ADBDB7443C9E}" dt="2021-09-21T23:34:38.272" v="2535"/>
            <ac:spMkLst>
              <pc:docMk/>
              <pc:sldMasterMk cId="2480497422" sldId="2147483660"/>
              <pc:sldLayoutMk cId="56629427" sldId="2147483662"/>
              <ac:spMk id="12" creationId="{AE71FD7F-4AC3-407E-B6DF-1EAC1DFA9B0A}"/>
            </ac:spMkLst>
          </pc:spChg>
          <pc:spChg chg="add mod">
            <ac:chgData name="Pascal Kowolik" userId="37b80ec5c5a1205d" providerId="LiveId" clId="{BF740F82-ED7B-422D-8D03-ADBDB7443C9E}" dt="2021-09-21T23:37:33.582" v="2786" actId="207"/>
            <ac:spMkLst>
              <pc:docMk/>
              <pc:sldMasterMk cId="2480497422" sldId="2147483660"/>
              <pc:sldLayoutMk cId="56629427" sldId="2147483662"/>
              <ac:spMk id="13" creationId="{333DA4F5-1DBD-4068-A069-04759C8A9388}"/>
            </ac:spMkLst>
          </pc:spChg>
          <pc:graphicFrameChg chg="add mod ord modVis replST">
            <ac:chgData name="Pascal Kowolik" userId="37b80ec5c5a1205d" providerId="LiveId" clId="{BF740F82-ED7B-422D-8D03-ADBDB7443C9E}" dt="2021-09-21T23:34:38.305" v="2537"/>
            <ac:graphicFrameMkLst>
              <pc:docMk/>
              <pc:sldMasterMk cId="2480497422" sldId="2147483660"/>
              <pc:sldLayoutMk cId="56629427" sldId="2147483662"/>
              <ac:graphicFrameMk id="8" creationId="{FC498F34-46DA-49D1-BD3A-A5D97F655C20}"/>
            </ac:graphicFrameMkLst>
          </pc:graphicFrameChg>
        </pc:sldLayoutChg>
        <pc:sldLayoutChg chg="addSp delSp modSp mod setBg">
          <pc:chgData name="Pascal Kowolik" userId="37b80ec5c5a1205d" providerId="LiveId" clId="{BF740F82-ED7B-422D-8D03-ADBDB7443C9E}" dt="2021-09-21T23:42:34.812" v="3113"/>
          <pc:sldLayoutMkLst>
            <pc:docMk/>
            <pc:sldMasterMk cId="2480497422" sldId="2147483660"/>
            <pc:sldLayoutMk cId="3430940410" sldId="2147483663"/>
          </pc:sldLayoutMkLst>
          <pc:spChg chg="mod">
            <ac:chgData name="Pascal Kowolik" userId="37b80ec5c5a1205d" providerId="LiveId" clId="{BF740F82-ED7B-422D-8D03-ADBDB7443C9E}" dt="2021-09-21T22:59:29.565" v="952" actId="948"/>
            <ac:spMkLst>
              <pc:docMk/>
              <pc:sldMasterMk cId="2480497422" sldId="2147483660"/>
              <pc:sldLayoutMk cId="3430940410" sldId="2147483663"/>
              <ac:spMk id="2" creationId="{58EB7ECD-34B2-46F7-85F1-F41486D260AD}"/>
            </ac:spMkLst>
          </pc:spChg>
          <pc:spChg chg="del">
            <ac:chgData name="Pascal Kowolik" userId="37b80ec5c5a1205d" providerId="LiveId" clId="{BF740F82-ED7B-422D-8D03-ADBDB7443C9E}" dt="2021-09-21T22:58:52.494" v="758" actId="21"/>
            <ac:spMkLst>
              <pc:docMk/>
              <pc:sldMasterMk cId="2480497422" sldId="2147483660"/>
              <pc:sldLayoutMk cId="3430940410" sldId="2147483663"/>
              <ac:spMk id="3" creationId="{DECC8D27-C57C-4D00-9127-A4EB79B9B013}"/>
            </ac:spMkLst>
          </pc:spChg>
          <pc:spChg chg="add del mod modVis">
            <ac:chgData name="Pascal Kowolik" userId="37b80ec5c5a1205d" providerId="LiveId" clId="{BF740F82-ED7B-422D-8D03-ADBDB7443C9E}" dt="2021-09-21T22:58:56.889" v="800"/>
            <ac:spMkLst>
              <pc:docMk/>
              <pc:sldMasterMk cId="2480497422" sldId="2147483660"/>
              <pc:sldLayoutMk cId="3430940410" sldId="2147483663"/>
              <ac:spMk id="4" creationId="{B57E621C-AF7C-487A-8A14-C7D2DE0CDE94}"/>
            </ac:spMkLst>
          </pc:spChg>
          <pc:spChg chg="del">
            <ac:chgData name="Pascal Kowolik" userId="37b80ec5c5a1205d" providerId="LiveId" clId="{BF740F82-ED7B-422D-8D03-ADBDB7443C9E}" dt="2021-09-21T22:59:01.086" v="817" actId="21"/>
            <ac:spMkLst>
              <pc:docMk/>
              <pc:sldMasterMk cId="2480497422" sldId="2147483660"/>
              <pc:sldLayoutMk cId="3430940410" sldId="2147483663"/>
              <ac:spMk id="5" creationId="{041AC45B-D3EF-42CE-992B-02DF30EB284A}"/>
            </ac:spMkLst>
          </pc:spChg>
          <pc:spChg chg="add del mod modVis">
            <ac:chgData name="Pascal Kowolik" userId="37b80ec5c5a1205d" providerId="LiveId" clId="{BF740F82-ED7B-422D-8D03-ADBDB7443C9E}" dt="2021-09-21T22:59:19.234" v="860"/>
            <ac:spMkLst>
              <pc:docMk/>
              <pc:sldMasterMk cId="2480497422" sldId="2147483660"/>
              <pc:sldLayoutMk cId="3430940410" sldId="2147483663"/>
              <ac:spMk id="8" creationId="{85B6BBF7-13F7-4F57-AA18-92E741B0F42B}"/>
            </ac:spMkLst>
          </pc:spChg>
          <pc:spChg chg="add del mod modVis">
            <ac:chgData name="Pascal Kowolik" userId="37b80ec5c5a1205d" providerId="LiveId" clId="{BF740F82-ED7B-422D-8D03-ADBDB7443C9E}" dt="2021-09-21T22:59:22.840" v="904"/>
            <ac:spMkLst>
              <pc:docMk/>
              <pc:sldMasterMk cId="2480497422" sldId="2147483660"/>
              <pc:sldLayoutMk cId="3430940410" sldId="2147483663"/>
              <ac:spMk id="9" creationId="{D6F85E44-22DD-413D-B746-3D8CB495AF72}"/>
            </ac:spMkLst>
          </pc:spChg>
          <pc:spChg chg="add del mod modVis">
            <ac:chgData name="Pascal Kowolik" userId="37b80ec5c5a1205d" providerId="LiveId" clId="{BF740F82-ED7B-422D-8D03-ADBDB7443C9E}" dt="2021-09-21T22:59:26.118" v="948"/>
            <ac:spMkLst>
              <pc:docMk/>
              <pc:sldMasterMk cId="2480497422" sldId="2147483660"/>
              <pc:sldLayoutMk cId="3430940410" sldId="2147483663"/>
              <ac:spMk id="10" creationId="{03503B7D-6DD0-41CE-B613-F24CD6260619}"/>
            </ac:spMkLst>
          </pc:spChg>
          <pc:spChg chg="add del mod modVis">
            <ac:chgData name="Pascal Kowolik" userId="37b80ec5c5a1205d" providerId="LiveId" clId="{BF740F82-ED7B-422D-8D03-ADBDB7443C9E}" dt="2021-09-21T22:59:29.596" v="992"/>
            <ac:spMkLst>
              <pc:docMk/>
              <pc:sldMasterMk cId="2480497422" sldId="2147483660"/>
              <pc:sldLayoutMk cId="3430940410" sldId="2147483663"/>
              <ac:spMk id="11" creationId="{3817AD7C-1970-4CF4-8BD0-CB272B48F162}"/>
            </ac:spMkLst>
          </pc:spChg>
          <pc:spChg chg="add mod">
            <ac:chgData name="Pascal Kowolik" userId="37b80ec5c5a1205d" providerId="LiveId" clId="{BF740F82-ED7B-422D-8D03-ADBDB7443C9E}" dt="2021-09-21T23:42:34.812" v="3113"/>
            <ac:spMkLst>
              <pc:docMk/>
              <pc:sldMasterMk cId="2480497422" sldId="2147483660"/>
              <pc:sldLayoutMk cId="3430940410" sldId="2147483663"/>
              <ac:spMk id="12" creationId="{9A3F8FAA-766A-4CDF-9814-39F242960816}"/>
            </ac:spMkLst>
          </pc:spChg>
          <pc:graphicFrameChg chg="add mod ord modVis replST">
            <ac:chgData name="Pascal Kowolik" userId="37b80ec5c5a1205d" providerId="LiveId" clId="{BF740F82-ED7B-422D-8D03-ADBDB7443C9E}" dt="2021-09-21T22:59:29.596" v="994"/>
            <ac:graphicFrameMkLst>
              <pc:docMk/>
              <pc:sldMasterMk cId="2480497422" sldId="2147483660"/>
              <pc:sldLayoutMk cId="3430940410" sldId="2147483663"/>
              <ac:graphicFrameMk id="7" creationId="{9973D0FA-8D89-4772-B016-187021F3EABF}"/>
            </ac:graphicFrameMkLst>
          </pc:graphicFrameChg>
        </pc:sldLayoutChg>
        <pc:sldLayoutChg chg="new del replId">
          <pc:chgData name="Pascal Kowolik" userId="37b80ec5c5a1205d" providerId="LiveId" clId="{BF740F82-ED7B-422D-8D03-ADBDB7443C9E}" dt="2021-09-21T22:56:21.722" v="665" actId="2696"/>
          <pc:sldLayoutMkLst>
            <pc:docMk/>
            <pc:sldMasterMk cId="2480497422" sldId="2147483660"/>
            <pc:sldLayoutMk cId="3976723684" sldId="2147483663"/>
          </pc:sldLayoutMkLst>
        </pc:sldLayoutChg>
        <pc:sldLayoutChg chg="addSp delSp modSp new mod">
          <pc:chgData name="Pascal Kowolik" userId="37b80ec5c5a1205d" providerId="LiveId" clId="{BF740F82-ED7B-422D-8D03-ADBDB7443C9E}" dt="2021-09-21T22:58:16.155" v="698" actId="6014"/>
          <pc:sldLayoutMkLst>
            <pc:docMk/>
            <pc:sldMasterMk cId="2480497422" sldId="2147483660"/>
            <pc:sldLayoutMk cId="1178816264" sldId="2147483664"/>
          </pc:sldLayoutMkLst>
          <pc:spChg chg="del">
            <ac:chgData name="Pascal Kowolik" userId="37b80ec5c5a1205d" providerId="LiveId" clId="{BF740F82-ED7B-422D-8D03-ADBDB7443C9E}" dt="2021-09-21T22:57:36.732" v="677" actId="21"/>
            <ac:spMkLst>
              <pc:docMk/>
              <pc:sldMasterMk cId="2480497422" sldId="2147483660"/>
              <pc:sldLayoutMk cId="1178816264" sldId="2147483664"/>
              <ac:spMk id="2" creationId="{9CCDCC96-1C01-470A-967B-ECF7C3F5CDE2}"/>
            </ac:spMkLst>
          </pc:spChg>
          <pc:spChg chg="del">
            <ac:chgData name="Pascal Kowolik" userId="37b80ec5c5a1205d" providerId="LiveId" clId="{BF740F82-ED7B-422D-8D03-ADBDB7443C9E}" dt="2021-09-21T22:58:05.395" v="697" actId="21"/>
            <ac:spMkLst>
              <pc:docMk/>
              <pc:sldMasterMk cId="2480497422" sldId="2147483660"/>
              <pc:sldLayoutMk cId="1178816264" sldId="2147483664"/>
              <ac:spMk id="3" creationId="{F3CF3F19-DA39-4543-9FD7-0325062C899C}"/>
            </ac:spMkLst>
          </pc:spChg>
          <pc:spChg chg="del">
            <ac:chgData name="Pascal Kowolik" userId="37b80ec5c5a1205d" providerId="LiveId" clId="{BF740F82-ED7B-422D-8D03-ADBDB7443C9E}" dt="2021-09-21T22:57:44.077" v="695" actId="21"/>
            <ac:spMkLst>
              <pc:docMk/>
              <pc:sldMasterMk cId="2480497422" sldId="2147483660"/>
              <pc:sldLayoutMk cId="1178816264" sldId="2147483664"/>
              <ac:spMk id="4" creationId="{D42DC88B-8283-4C84-A1FC-053A538B26CC}"/>
            </ac:spMkLst>
          </pc:spChg>
          <pc:graphicFrameChg chg="add mod ord modVis replST">
            <ac:chgData name="Pascal Kowolik" userId="37b80ec5c5a1205d" providerId="LiveId" clId="{BF740F82-ED7B-422D-8D03-ADBDB7443C9E}" dt="2021-09-21T22:57:37.263" v="694"/>
            <ac:graphicFrameMkLst>
              <pc:docMk/>
              <pc:sldMasterMk cId="2480497422" sldId="2147483660"/>
              <pc:sldLayoutMk cId="1178816264" sldId="2147483664"/>
              <ac:graphicFrameMk id="5" creationId="{6983E4D7-9515-4522-A6F6-12774C744456}"/>
            </ac:graphicFrameMkLst>
          </pc:graphicFrameChg>
        </pc:sldLayoutChg>
        <pc:sldLayoutChg chg="new del replId">
          <pc:chgData name="Pascal Kowolik" userId="37b80ec5c5a1205d" providerId="LiveId" clId="{BF740F82-ED7B-422D-8D03-ADBDB7443C9E}" dt="2021-09-21T22:56:24.803" v="666" actId="2696"/>
          <pc:sldLayoutMkLst>
            <pc:docMk/>
            <pc:sldMasterMk cId="2480497422" sldId="2147483660"/>
            <pc:sldLayoutMk cId="2704671577" sldId="2147483664"/>
          </pc:sldLayoutMkLst>
        </pc:sldLayoutChg>
        <pc:sldLayoutChg chg="new del replId">
          <pc:chgData name="Pascal Kowolik" userId="37b80ec5c5a1205d" providerId="LiveId" clId="{BF740F82-ED7B-422D-8D03-ADBDB7443C9E}" dt="2021-09-21T22:56:26.943" v="667" actId="2696"/>
          <pc:sldLayoutMkLst>
            <pc:docMk/>
            <pc:sldMasterMk cId="2480497422" sldId="2147483660"/>
            <pc:sldLayoutMk cId="1326918714" sldId="2147483665"/>
          </pc:sldLayoutMkLst>
        </pc:sldLayoutChg>
        <pc:sldLayoutChg chg="new del replId">
          <pc:chgData name="Pascal Kowolik" userId="37b80ec5c5a1205d" providerId="LiveId" clId="{BF740F82-ED7B-422D-8D03-ADBDB7443C9E}" dt="2021-09-21T22:56:28.743" v="668" actId="2696"/>
          <pc:sldLayoutMkLst>
            <pc:docMk/>
            <pc:sldMasterMk cId="2480497422" sldId="2147483660"/>
            <pc:sldLayoutMk cId="1498567622" sldId="2147483666"/>
          </pc:sldLayoutMkLst>
        </pc:sldLayoutChg>
        <pc:sldLayoutChg chg="new del replId">
          <pc:chgData name="Pascal Kowolik" userId="37b80ec5c5a1205d" providerId="LiveId" clId="{BF740F82-ED7B-422D-8D03-ADBDB7443C9E}" dt="2021-09-21T22:56:31.311" v="669" actId="2696"/>
          <pc:sldLayoutMkLst>
            <pc:docMk/>
            <pc:sldMasterMk cId="2480497422" sldId="2147483660"/>
            <pc:sldLayoutMk cId="3751477235" sldId="2147483667"/>
          </pc:sldLayoutMkLst>
        </pc:sldLayoutChg>
        <pc:sldLayoutChg chg="new del replId">
          <pc:chgData name="Pascal Kowolik" userId="37b80ec5c5a1205d" providerId="LiveId" clId="{BF740F82-ED7B-422D-8D03-ADBDB7443C9E}" dt="2021-09-21T22:56:33.531" v="670" actId="2696"/>
          <pc:sldLayoutMkLst>
            <pc:docMk/>
            <pc:sldMasterMk cId="2480497422" sldId="2147483660"/>
            <pc:sldLayoutMk cId="1976873079" sldId="2147483668"/>
          </pc:sldLayoutMkLst>
        </pc:sldLayoutChg>
        <pc:sldLayoutChg chg="new del replId">
          <pc:chgData name="Pascal Kowolik" userId="37b80ec5c5a1205d" providerId="LiveId" clId="{BF740F82-ED7B-422D-8D03-ADBDB7443C9E}" dt="2021-09-21T22:56:35.675" v="671" actId="2696"/>
          <pc:sldLayoutMkLst>
            <pc:docMk/>
            <pc:sldMasterMk cId="2480497422" sldId="2147483660"/>
            <pc:sldLayoutMk cId="3181436094" sldId="2147483669"/>
          </pc:sldLayoutMkLst>
        </pc:sldLayoutChg>
        <pc:sldLayoutChg chg="new del replId">
          <pc:chgData name="Pascal Kowolik" userId="37b80ec5c5a1205d" providerId="LiveId" clId="{BF740F82-ED7B-422D-8D03-ADBDB7443C9E}" dt="2021-09-21T22:56:37.775" v="672" actId="2696"/>
          <pc:sldLayoutMkLst>
            <pc:docMk/>
            <pc:sldMasterMk cId="2480497422" sldId="2147483660"/>
            <pc:sldLayoutMk cId="2663276578" sldId="2147483670"/>
          </pc:sldLayoutMkLst>
        </pc:sldLayoutChg>
        <pc:sldLayoutChg chg="new del replId">
          <pc:chgData name="Pascal Kowolik" userId="37b80ec5c5a1205d" providerId="LiveId" clId="{BF740F82-ED7B-422D-8D03-ADBDB7443C9E}" dt="2021-09-21T22:56:40.355" v="673" actId="2696"/>
          <pc:sldLayoutMkLst>
            <pc:docMk/>
            <pc:sldMasterMk cId="2480497422" sldId="2147483660"/>
            <pc:sldLayoutMk cId="31018832" sldId="2147483671"/>
          </pc:sldLayoutMkLst>
        </pc:sldLayoutChg>
      </pc:sldMasterChg>
      <pc:sldMasterChg chg="addSp">
        <pc:chgData name="Pascal Kowolik" userId="37b80ec5c5a1205d" providerId="LiveId" clId="{BF740F82-ED7B-422D-8D03-ADBDB7443C9E}" dt="2021-09-21T22:46:00.198" v="204"/>
        <pc:sldMasterMkLst>
          <pc:docMk/>
          <pc:sldMasterMk cId="2574284855" sldId="2147483660"/>
        </pc:sldMasterMkLst>
        <pc:graphicFrameChg chg="add">
          <ac:chgData name="Pascal Kowolik" userId="37b80ec5c5a1205d" providerId="LiveId" clId="{BF740F82-ED7B-422D-8D03-ADBDB7443C9E}" dt="2021-09-21T22:46:00.198" v="204"/>
          <ac:graphicFrameMkLst>
            <pc:docMk/>
            <pc:sldMasterMk cId="2574284855" sldId="2147483660"/>
            <ac:graphicFrameMk id="7" creationId="{A3ABBB2C-54F8-4B1F-9065-951E35C6E4CE}"/>
          </ac:graphicFrameMkLst>
        </pc:graphicFrameChg>
      </pc:sldMasterChg>
      <pc:sldMasterChg chg="addSp modSp new del mod addSldLayout delSldLayout">
        <pc:chgData name="Pascal Kowolik" userId="37b80ec5c5a1205d" providerId="LiveId" clId="{BF740F82-ED7B-422D-8D03-ADBDB7443C9E}" dt="2021-09-21T22:41:28.433" v="153" actId="2696"/>
        <pc:sldMasterMkLst>
          <pc:docMk/>
          <pc:sldMasterMk cId="2686806101" sldId="2147483661"/>
        </pc:sldMasterMkLst>
        <pc:spChg chg="add mod">
          <ac:chgData name="Pascal Kowolik" userId="37b80ec5c5a1205d" providerId="LiveId" clId="{BF740F82-ED7B-422D-8D03-ADBDB7443C9E}" dt="2021-09-21T22:41:21.900" v="141"/>
          <ac:spMkLst>
            <pc:docMk/>
            <pc:sldMasterMk cId="2686806101" sldId="2147483661"/>
            <ac:spMk id="2" creationId="{260225B1-D77D-469B-9F89-1E51897095B1}"/>
          </ac:spMkLst>
        </pc:spChg>
        <pc:spChg chg="add mod">
          <ac:chgData name="Pascal Kowolik" userId="37b80ec5c5a1205d" providerId="LiveId" clId="{BF740F82-ED7B-422D-8D03-ADBDB7443C9E}" dt="2021-09-21T22:41:21.900" v="141"/>
          <ac:spMkLst>
            <pc:docMk/>
            <pc:sldMasterMk cId="2686806101" sldId="2147483661"/>
            <ac:spMk id="3" creationId="{765635CD-BAE3-4E04-9234-EAC9F573A134}"/>
          </ac:spMkLst>
        </pc:spChg>
        <pc:spChg chg="add mod">
          <ac:chgData name="Pascal Kowolik" userId="37b80ec5c5a1205d" providerId="LiveId" clId="{BF740F82-ED7B-422D-8D03-ADBDB7443C9E}" dt="2021-09-21T22:41:21.900" v="141"/>
          <ac:spMkLst>
            <pc:docMk/>
            <pc:sldMasterMk cId="2686806101" sldId="2147483661"/>
            <ac:spMk id="4" creationId="{E9F9C1C2-52BE-4504-BBEE-4945D5C32299}"/>
          </ac:spMkLst>
        </pc:spChg>
        <pc:spChg chg="add mod">
          <ac:chgData name="Pascal Kowolik" userId="37b80ec5c5a1205d" providerId="LiveId" clId="{BF740F82-ED7B-422D-8D03-ADBDB7443C9E}" dt="2021-09-21T22:41:21.900" v="141"/>
          <ac:spMkLst>
            <pc:docMk/>
            <pc:sldMasterMk cId="2686806101" sldId="2147483661"/>
            <ac:spMk id="5" creationId="{62B3036A-191A-4DE3-B0B0-0F93817BDC2B}"/>
          </ac:spMkLst>
        </pc:spChg>
        <pc:spChg chg="add mod">
          <ac:chgData name="Pascal Kowolik" userId="37b80ec5c5a1205d" providerId="LiveId" clId="{BF740F82-ED7B-422D-8D03-ADBDB7443C9E}" dt="2021-09-21T22:41:21.900" v="141"/>
          <ac:spMkLst>
            <pc:docMk/>
            <pc:sldMasterMk cId="2686806101" sldId="2147483661"/>
            <ac:spMk id="6" creationId="{E89A09E9-8262-40A2-9A8E-19E9A894D2A8}"/>
          </ac:spMkLst>
        </pc:spChg>
        <pc:sldLayoutChg chg="new del replId">
          <pc:chgData name="Pascal Kowolik" userId="37b80ec5c5a1205d" providerId="LiveId" clId="{BF740F82-ED7B-422D-8D03-ADBDB7443C9E}" dt="2021-09-21T22:41:28.417" v="142" actId="2696"/>
          <pc:sldLayoutMkLst>
            <pc:docMk/>
            <pc:sldMasterMk cId="2686806101" sldId="2147483661"/>
            <pc:sldLayoutMk cId="3684406924" sldId="2147483662"/>
          </pc:sldLayoutMkLst>
        </pc:sldLayoutChg>
        <pc:sldLayoutChg chg="new del replId">
          <pc:chgData name="Pascal Kowolik" userId="37b80ec5c5a1205d" providerId="LiveId" clId="{BF740F82-ED7B-422D-8D03-ADBDB7443C9E}" dt="2021-09-21T22:41:28.417" v="143" actId="2696"/>
          <pc:sldLayoutMkLst>
            <pc:docMk/>
            <pc:sldMasterMk cId="2686806101" sldId="2147483661"/>
            <pc:sldLayoutMk cId="1336251945" sldId="2147483663"/>
          </pc:sldLayoutMkLst>
        </pc:sldLayoutChg>
        <pc:sldLayoutChg chg="new del replId">
          <pc:chgData name="Pascal Kowolik" userId="37b80ec5c5a1205d" providerId="LiveId" clId="{BF740F82-ED7B-422D-8D03-ADBDB7443C9E}" dt="2021-09-21T22:41:28.417" v="144" actId="2696"/>
          <pc:sldLayoutMkLst>
            <pc:docMk/>
            <pc:sldMasterMk cId="2686806101" sldId="2147483661"/>
            <pc:sldLayoutMk cId="2812386461" sldId="2147483664"/>
          </pc:sldLayoutMkLst>
        </pc:sldLayoutChg>
        <pc:sldLayoutChg chg="new del replId">
          <pc:chgData name="Pascal Kowolik" userId="37b80ec5c5a1205d" providerId="LiveId" clId="{BF740F82-ED7B-422D-8D03-ADBDB7443C9E}" dt="2021-09-21T22:41:28.417" v="145" actId="2696"/>
          <pc:sldLayoutMkLst>
            <pc:docMk/>
            <pc:sldMasterMk cId="2686806101" sldId="2147483661"/>
            <pc:sldLayoutMk cId="3865427643" sldId="2147483665"/>
          </pc:sldLayoutMkLst>
        </pc:sldLayoutChg>
        <pc:sldLayoutChg chg="new del replId">
          <pc:chgData name="Pascal Kowolik" userId="37b80ec5c5a1205d" providerId="LiveId" clId="{BF740F82-ED7B-422D-8D03-ADBDB7443C9E}" dt="2021-09-21T22:41:28.417" v="146" actId="2696"/>
          <pc:sldLayoutMkLst>
            <pc:docMk/>
            <pc:sldMasterMk cId="2686806101" sldId="2147483661"/>
            <pc:sldLayoutMk cId="2961303715" sldId="2147483666"/>
          </pc:sldLayoutMkLst>
        </pc:sldLayoutChg>
        <pc:sldLayoutChg chg="new del replId">
          <pc:chgData name="Pascal Kowolik" userId="37b80ec5c5a1205d" providerId="LiveId" clId="{BF740F82-ED7B-422D-8D03-ADBDB7443C9E}" dt="2021-09-21T22:41:28.417" v="147" actId="2696"/>
          <pc:sldLayoutMkLst>
            <pc:docMk/>
            <pc:sldMasterMk cId="2686806101" sldId="2147483661"/>
            <pc:sldLayoutMk cId="2605528364" sldId="2147483667"/>
          </pc:sldLayoutMkLst>
        </pc:sldLayoutChg>
        <pc:sldLayoutChg chg="new del replId">
          <pc:chgData name="Pascal Kowolik" userId="37b80ec5c5a1205d" providerId="LiveId" clId="{BF740F82-ED7B-422D-8D03-ADBDB7443C9E}" dt="2021-09-21T22:41:28.433" v="148" actId="2696"/>
          <pc:sldLayoutMkLst>
            <pc:docMk/>
            <pc:sldMasterMk cId="2686806101" sldId="2147483661"/>
            <pc:sldLayoutMk cId="2053759469" sldId="2147483668"/>
          </pc:sldLayoutMkLst>
        </pc:sldLayoutChg>
        <pc:sldLayoutChg chg="new del replId">
          <pc:chgData name="Pascal Kowolik" userId="37b80ec5c5a1205d" providerId="LiveId" clId="{BF740F82-ED7B-422D-8D03-ADBDB7443C9E}" dt="2021-09-21T22:41:28.433" v="149" actId="2696"/>
          <pc:sldLayoutMkLst>
            <pc:docMk/>
            <pc:sldMasterMk cId="2686806101" sldId="2147483661"/>
            <pc:sldLayoutMk cId="1531606768" sldId="2147483669"/>
          </pc:sldLayoutMkLst>
        </pc:sldLayoutChg>
        <pc:sldLayoutChg chg="new del replId">
          <pc:chgData name="Pascal Kowolik" userId="37b80ec5c5a1205d" providerId="LiveId" clId="{BF740F82-ED7B-422D-8D03-ADBDB7443C9E}" dt="2021-09-21T22:41:28.433" v="150" actId="2696"/>
          <pc:sldLayoutMkLst>
            <pc:docMk/>
            <pc:sldMasterMk cId="2686806101" sldId="2147483661"/>
            <pc:sldLayoutMk cId="618388676" sldId="2147483670"/>
          </pc:sldLayoutMkLst>
        </pc:sldLayoutChg>
        <pc:sldLayoutChg chg="new del replId">
          <pc:chgData name="Pascal Kowolik" userId="37b80ec5c5a1205d" providerId="LiveId" clId="{BF740F82-ED7B-422D-8D03-ADBDB7443C9E}" dt="2021-09-21T22:41:28.433" v="151" actId="2696"/>
          <pc:sldLayoutMkLst>
            <pc:docMk/>
            <pc:sldMasterMk cId="2686806101" sldId="2147483661"/>
            <pc:sldLayoutMk cId="578502867" sldId="2147483671"/>
          </pc:sldLayoutMkLst>
        </pc:sldLayoutChg>
        <pc:sldLayoutChg chg="new del replId">
          <pc:chgData name="Pascal Kowolik" userId="37b80ec5c5a1205d" providerId="LiveId" clId="{BF740F82-ED7B-422D-8D03-ADBDB7443C9E}" dt="2021-09-21T22:41:28.433" v="152" actId="2696"/>
          <pc:sldLayoutMkLst>
            <pc:docMk/>
            <pc:sldMasterMk cId="2686806101" sldId="2147483661"/>
            <pc:sldLayoutMk cId="2026822770" sldId="2147483672"/>
          </pc:sldLayoutMkLst>
        </pc:sldLayoutChg>
      </pc:sldMasterChg>
      <pc:sldMasterChg chg="addSp">
        <pc:chgData name="Pascal Kowolik" userId="37b80ec5c5a1205d" providerId="LiveId" clId="{BF740F82-ED7B-422D-8D03-ADBDB7443C9E}" dt="2021-09-21T22:46:01.489" v="208"/>
        <pc:sldMasterMkLst>
          <pc:docMk/>
          <pc:sldMasterMk cId="3082101244" sldId="2147483672"/>
        </pc:sldMasterMkLst>
        <pc:graphicFrameChg chg="add">
          <ac:chgData name="Pascal Kowolik" userId="37b80ec5c5a1205d" providerId="LiveId" clId="{BF740F82-ED7B-422D-8D03-ADBDB7443C9E}" dt="2021-09-21T22:46:01.489" v="208"/>
          <ac:graphicFrameMkLst>
            <pc:docMk/>
            <pc:sldMasterMk cId="3082101244" sldId="2147483672"/>
            <ac:graphicFrameMk id="7" creationId="{9FBE3E07-B375-420C-8EA4-1F7696AED243}"/>
          </ac:graphicFrameMkLst>
        </pc:graphicFrameChg>
      </pc:sldMasterChg>
      <pc:sldMasterChg chg="addSp">
        <pc:chgData name="Pascal Kowolik" userId="37b80ec5c5a1205d" providerId="LiveId" clId="{BF740F82-ED7B-422D-8D03-ADBDB7443C9E}" dt="2021-09-21T22:46:02.088" v="209"/>
        <pc:sldMasterMkLst>
          <pc:docMk/>
          <pc:sldMasterMk cId="1169383530" sldId="2147483684"/>
        </pc:sldMasterMkLst>
        <pc:graphicFrameChg chg="add">
          <ac:chgData name="Pascal Kowolik" userId="37b80ec5c5a1205d" providerId="LiveId" clId="{BF740F82-ED7B-422D-8D03-ADBDB7443C9E}" dt="2021-09-21T22:46:02.088" v="209"/>
          <ac:graphicFrameMkLst>
            <pc:docMk/>
            <pc:sldMasterMk cId="1169383530" sldId="2147483684"/>
            <ac:graphicFrameMk id="18" creationId="{C9BD18C6-7A4A-4FBC-9ABB-C917B3B4E3D4}"/>
          </ac:graphicFrameMkLst>
        </pc:graphicFrameChg>
      </pc:sldMasterChg>
      <pc:sldMasterChg chg="addSp">
        <pc:chgData name="Pascal Kowolik" userId="37b80ec5c5a1205d" providerId="LiveId" clId="{BF740F82-ED7B-422D-8D03-ADBDB7443C9E}" dt="2021-09-21T22:46:02.621" v="210"/>
        <pc:sldMasterMkLst>
          <pc:docMk/>
          <pc:sldMasterMk cId="3090325942" sldId="2147483701"/>
        </pc:sldMasterMkLst>
        <pc:graphicFrameChg chg="add">
          <ac:chgData name="Pascal Kowolik" userId="37b80ec5c5a1205d" providerId="LiveId" clId="{BF740F82-ED7B-422D-8D03-ADBDB7443C9E}" dt="2021-09-21T22:46:02.621" v="210"/>
          <ac:graphicFrameMkLst>
            <pc:docMk/>
            <pc:sldMasterMk cId="3090325942" sldId="2147483701"/>
            <ac:graphicFrameMk id="36" creationId="{9532AC35-3672-4EBE-B007-8F1BFBCA0B4E}"/>
          </ac:graphicFrameMkLst>
        </pc:graphicFrameChg>
      </pc:sldMasterChg>
      <pc:sldMasterChg chg="addSp">
        <pc:chgData name="Pascal Kowolik" userId="37b80ec5c5a1205d" providerId="LiveId" clId="{BF740F82-ED7B-422D-8D03-ADBDB7443C9E}" dt="2021-09-21T22:46:03.274" v="211"/>
        <pc:sldMasterMkLst>
          <pc:docMk/>
          <pc:sldMasterMk cId="3916700195" sldId="2147483718"/>
        </pc:sldMasterMkLst>
        <pc:graphicFrameChg chg="add">
          <ac:chgData name="Pascal Kowolik" userId="37b80ec5c5a1205d" providerId="LiveId" clId="{BF740F82-ED7B-422D-8D03-ADBDB7443C9E}" dt="2021-09-21T22:46:03.274" v="211"/>
          <ac:graphicFrameMkLst>
            <pc:docMk/>
            <pc:sldMasterMk cId="3916700195" sldId="2147483718"/>
            <ac:graphicFrameMk id="8" creationId="{39648520-A6F4-4088-AC0B-665D7929A5E7}"/>
          </ac:graphicFrameMkLst>
        </pc:graphicFrameChg>
      </pc:sldMasterChg>
      <pc:sldMasterChg chg="addSp modSp mod">
        <pc:chgData name="Pascal Kowolik" userId="37b80ec5c5a1205d" providerId="LiveId" clId="{BF740F82-ED7B-422D-8D03-ADBDB7443C9E}" dt="2021-09-21T22:46:04.525" v="214" actId="20577"/>
        <pc:sldMasterMkLst>
          <pc:docMk/>
          <pc:sldMasterMk cId="80247626" sldId="2147483730"/>
        </pc:sldMasterMkLst>
        <pc:spChg chg="mod">
          <ac:chgData name="Pascal Kowolik" userId="37b80ec5c5a1205d" providerId="LiveId" clId="{BF740F82-ED7B-422D-8D03-ADBDB7443C9E}" dt="2021-09-21T22:46:04.525" v="214" actId="20577"/>
          <ac:spMkLst>
            <pc:docMk/>
            <pc:sldMasterMk cId="80247626" sldId="2147483730"/>
            <ac:spMk id="14" creationId="{00000000-0000-0000-0000-000000000000}"/>
          </ac:spMkLst>
        </pc:spChg>
        <pc:spChg chg="mod">
          <ac:chgData name="Pascal Kowolik" userId="37b80ec5c5a1205d" providerId="LiveId" clId="{BF740F82-ED7B-422D-8D03-ADBDB7443C9E}" dt="2021-09-21T22:46:04.525" v="213" actId="20577"/>
          <ac:spMkLst>
            <pc:docMk/>
            <pc:sldMasterMk cId="80247626" sldId="2147483730"/>
            <ac:spMk id="16" creationId="{00000000-0000-0000-0000-000000000000}"/>
          </ac:spMkLst>
        </pc:spChg>
        <pc:graphicFrameChg chg="add">
          <ac:chgData name="Pascal Kowolik" userId="37b80ec5c5a1205d" providerId="LiveId" clId="{BF740F82-ED7B-422D-8D03-ADBDB7443C9E}" dt="2021-09-21T22:46:03.785" v="212"/>
          <ac:graphicFrameMkLst>
            <pc:docMk/>
            <pc:sldMasterMk cId="80247626" sldId="2147483730"/>
            <ac:graphicFrameMk id="13" creationId="{4AA6CCC7-3D74-454A-AE37-716FE181A4A1}"/>
          </ac:graphicFrameMkLst>
        </pc:graphicFrameChg>
      </pc:sldMasterChg>
    </pc:docChg>
  </pc:docChgLst>
  <pc:docChgLst>
    <pc:chgData name="Pascal Kowolik" userId="37b80ec5c5a1205d" providerId="LiveId" clId="{3F2F118F-4546-4629-A294-B027944C675F}"/>
    <pc:docChg chg="custSel addSld delSld modSld modMainMaster modSection replTag">
      <pc:chgData name="Pascal Kowolik" userId="37b80ec5c5a1205d" providerId="LiveId" clId="{3F2F118F-4546-4629-A294-B027944C675F}" dt="2021-10-27T00:37:34.563" v="207" actId="2696"/>
      <pc:docMkLst>
        <pc:docMk/>
      </pc:docMkLst>
      <pc:sldChg chg="addSp delSp modSp mod">
        <pc:chgData name="Pascal Kowolik" userId="37b80ec5c5a1205d" providerId="LiveId" clId="{3F2F118F-4546-4629-A294-B027944C675F}" dt="2021-10-01T00:28:39.445" v="57"/>
        <pc:sldMkLst>
          <pc:docMk/>
          <pc:sldMk cId="1841813636" sldId="256"/>
        </pc:sldMkLst>
        <pc:spChg chg="mod">
          <ac:chgData name="Pascal Kowolik" userId="37b80ec5c5a1205d" providerId="LiveId" clId="{3F2F118F-4546-4629-A294-B027944C675F}" dt="2021-10-01T00:28:39.280" v="1" actId="948"/>
          <ac:spMkLst>
            <pc:docMk/>
            <pc:sldMk cId="1841813636" sldId="256"/>
            <ac:spMk id="2" creationId="{A1CC7415-5AA0-4925-A348-A1502C644481}"/>
          </ac:spMkLst>
        </pc:spChg>
        <pc:spChg chg="add del mod modVis">
          <ac:chgData name="Pascal Kowolik" userId="37b80ec5c5a1205d" providerId="LiveId" clId="{3F2F118F-4546-4629-A294-B027944C675F}" dt="2021-10-01T00:28:39.363" v="41"/>
          <ac:spMkLst>
            <pc:docMk/>
            <pc:sldMk cId="1841813636" sldId="256"/>
            <ac:spMk id="3" creationId="{089888A9-86E6-44E2-B6AE-5903C5F3B45A}"/>
          </ac:spMkLst>
        </pc:spChg>
        <pc:graphicFrameChg chg="add mod ord modVis replST">
          <ac:chgData name="Pascal Kowolik" userId="37b80ec5c5a1205d" providerId="LiveId" clId="{3F2F118F-4546-4629-A294-B027944C675F}" dt="2021-10-01T00:28:39.445" v="57"/>
          <ac:graphicFrameMkLst>
            <pc:docMk/>
            <pc:sldMk cId="1841813636" sldId="256"/>
            <ac:graphicFrameMk id="4" creationId="{8B436150-29BD-4A00-A18B-43FD63313A40}"/>
          </ac:graphicFrameMkLst>
        </pc:graphicFrameChg>
      </pc:sldChg>
      <pc:sldChg chg="del">
        <pc:chgData name="Pascal Kowolik" userId="37b80ec5c5a1205d" providerId="LiveId" clId="{3F2F118F-4546-4629-A294-B027944C675F}" dt="2021-10-01T00:29:22.921" v="117" actId="2696"/>
        <pc:sldMkLst>
          <pc:docMk/>
          <pc:sldMk cId="2562997768" sldId="257"/>
        </pc:sldMkLst>
      </pc:sldChg>
      <pc:sldChg chg="addSp delSp modSp mod">
        <pc:chgData name="Pascal Kowolik" userId="37b80ec5c5a1205d" providerId="LiveId" clId="{3F2F118F-4546-4629-A294-B027944C675F}" dt="2021-10-01T00:29:13.343" v="116"/>
        <pc:sldMkLst>
          <pc:docMk/>
          <pc:sldMk cId="3127421898" sldId="258"/>
        </pc:sldMkLst>
        <pc:spChg chg="mod">
          <ac:chgData name="Pascal Kowolik" userId="37b80ec5c5a1205d" providerId="LiveId" clId="{3F2F118F-4546-4629-A294-B027944C675F}" dt="2021-10-01T00:28:55.033" v="59" actId="948"/>
          <ac:spMkLst>
            <pc:docMk/>
            <pc:sldMk cId="3127421898" sldId="258"/>
            <ac:spMk id="2" creationId="{77BDD6CE-C61B-4D18-8632-15F9805BC035}"/>
          </ac:spMkLst>
        </pc:spChg>
        <pc:spChg chg="add del mod modVis">
          <ac:chgData name="Pascal Kowolik" userId="37b80ec5c5a1205d" providerId="LiveId" clId="{3F2F118F-4546-4629-A294-B027944C675F}" dt="2021-10-01T00:28:55.149" v="99"/>
          <ac:spMkLst>
            <pc:docMk/>
            <pc:sldMk cId="3127421898" sldId="258"/>
            <ac:spMk id="3" creationId="{9B5F8AF2-0174-4CBF-8C2B-E959F74273A1}"/>
          </ac:spMkLst>
        </pc:spChg>
        <pc:spChg chg="mod">
          <ac:chgData name="Pascal Kowolik" userId="37b80ec5c5a1205d" providerId="LiveId" clId="{3F2F118F-4546-4629-A294-B027944C675F}" dt="2021-10-01T00:29:13.343" v="116"/>
          <ac:spMkLst>
            <pc:docMk/>
            <pc:sldMk cId="3127421898" sldId="258"/>
            <ac:spMk id="6" creationId="{0AFD19FA-2E79-4CCD-9BD6-30EFD5865529}"/>
          </ac:spMkLst>
        </pc:spChg>
        <pc:spChg chg="mod">
          <ac:chgData name="Pascal Kowolik" userId="37b80ec5c5a1205d" providerId="LiveId" clId="{3F2F118F-4546-4629-A294-B027944C675F}" dt="2021-10-01T00:29:13.343" v="116"/>
          <ac:spMkLst>
            <pc:docMk/>
            <pc:sldMk cId="3127421898" sldId="258"/>
            <ac:spMk id="7" creationId="{D0F5197F-E8A9-4B27-B77D-B05636C8B6CF}"/>
          </ac:spMkLst>
        </pc:spChg>
        <pc:spChg chg="mod">
          <ac:chgData name="Pascal Kowolik" userId="37b80ec5c5a1205d" providerId="LiveId" clId="{3F2F118F-4546-4629-A294-B027944C675F}" dt="2021-10-01T00:29:13.343" v="116"/>
          <ac:spMkLst>
            <pc:docMk/>
            <pc:sldMk cId="3127421898" sldId="258"/>
            <ac:spMk id="9" creationId="{C6804B43-E4CA-4D05-A2A3-0BA98FC28F3C}"/>
          </ac:spMkLst>
        </pc:spChg>
        <pc:spChg chg="mod">
          <ac:chgData name="Pascal Kowolik" userId="37b80ec5c5a1205d" providerId="LiveId" clId="{3F2F118F-4546-4629-A294-B027944C675F}" dt="2021-10-01T00:29:13.343" v="116"/>
          <ac:spMkLst>
            <pc:docMk/>
            <pc:sldMk cId="3127421898" sldId="258"/>
            <ac:spMk id="10" creationId="{80D0053F-DEBD-44AA-831F-A9A6AC4B4A34}"/>
          </ac:spMkLst>
        </pc:spChg>
        <pc:spChg chg="mod">
          <ac:chgData name="Pascal Kowolik" userId="37b80ec5c5a1205d" providerId="LiveId" clId="{3F2F118F-4546-4629-A294-B027944C675F}" dt="2021-10-01T00:29:13.343" v="116"/>
          <ac:spMkLst>
            <pc:docMk/>
            <pc:sldMk cId="3127421898" sldId="258"/>
            <ac:spMk id="12" creationId="{36AB1ADE-6DD9-4916-A6BE-53B38898A111}"/>
          </ac:spMkLst>
        </pc:spChg>
        <pc:spChg chg="mod">
          <ac:chgData name="Pascal Kowolik" userId="37b80ec5c5a1205d" providerId="LiveId" clId="{3F2F118F-4546-4629-A294-B027944C675F}" dt="2021-10-01T00:29:13.343" v="116"/>
          <ac:spMkLst>
            <pc:docMk/>
            <pc:sldMk cId="3127421898" sldId="258"/>
            <ac:spMk id="13" creationId="{996351FE-F1A3-468A-B303-D1EACCD99B83}"/>
          </ac:spMkLst>
        </pc:spChg>
        <pc:spChg chg="mod">
          <ac:chgData name="Pascal Kowolik" userId="37b80ec5c5a1205d" providerId="LiveId" clId="{3F2F118F-4546-4629-A294-B027944C675F}" dt="2021-10-01T00:29:13.343" v="116"/>
          <ac:spMkLst>
            <pc:docMk/>
            <pc:sldMk cId="3127421898" sldId="258"/>
            <ac:spMk id="15" creationId="{FCFE43F1-C79E-4664-BBA0-A77CA66D31D8}"/>
          </ac:spMkLst>
        </pc:spChg>
        <pc:spChg chg="mod">
          <ac:chgData name="Pascal Kowolik" userId="37b80ec5c5a1205d" providerId="LiveId" clId="{3F2F118F-4546-4629-A294-B027944C675F}" dt="2021-10-01T00:29:13.343" v="116"/>
          <ac:spMkLst>
            <pc:docMk/>
            <pc:sldMk cId="3127421898" sldId="258"/>
            <ac:spMk id="16" creationId="{5FBA22AF-AC46-4586-A5F2-7CD7688F467C}"/>
          </ac:spMkLst>
        </pc:spChg>
        <pc:grpChg chg="add mod">
          <ac:chgData name="Pascal Kowolik" userId="37b80ec5c5a1205d" providerId="LiveId" clId="{3F2F118F-4546-4629-A294-B027944C675F}" dt="2021-10-01T00:29:13.343" v="116"/>
          <ac:grpSpMkLst>
            <pc:docMk/>
            <pc:sldMk cId="3127421898" sldId="258"/>
            <ac:grpSpMk id="5" creationId="{19E0DCF5-1DC5-4B68-B708-ACCA61A3BEDA}"/>
          </ac:grpSpMkLst>
        </pc:grpChg>
        <pc:grpChg chg="add mod">
          <ac:chgData name="Pascal Kowolik" userId="37b80ec5c5a1205d" providerId="LiveId" clId="{3F2F118F-4546-4629-A294-B027944C675F}" dt="2021-10-01T00:29:13.343" v="116"/>
          <ac:grpSpMkLst>
            <pc:docMk/>
            <pc:sldMk cId="3127421898" sldId="258"/>
            <ac:grpSpMk id="8" creationId="{EE4098FF-F3F8-47CC-A2A8-1B13849AF0D5}"/>
          </ac:grpSpMkLst>
        </pc:grpChg>
        <pc:grpChg chg="add mod">
          <ac:chgData name="Pascal Kowolik" userId="37b80ec5c5a1205d" providerId="LiveId" clId="{3F2F118F-4546-4629-A294-B027944C675F}" dt="2021-10-01T00:29:13.343" v="116"/>
          <ac:grpSpMkLst>
            <pc:docMk/>
            <pc:sldMk cId="3127421898" sldId="258"/>
            <ac:grpSpMk id="11" creationId="{6B31ED9C-2CB7-4B9A-812D-E570383898EB}"/>
          </ac:grpSpMkLst>
        </pc:grpChg>
        <pc:grpChg chg="add mod">
          <ac:chgData name="Pascal Kowolik" userId="37b80ec5c5a1205d" providerId="LiveId" clId="{3F2F118F-4546-4629-A294-B027944C675F}" dt="2021-10-01T00:29:13.343" v="116"/>
          <ac:grpSpMkLst>
            <pc:docMk/>
            <pc:sldMk cId="3127421898" sldId="258"/>
            <ac:grpSpMk id="14" creationId="{9851B834-7774-42B2-9F14-93B2565F2EAF}"/>
          </ac:grpSpMkLst>
        </pc:grpChg>
        <pc:graphicFrameChg chg="add mod ord modVis replST">
          <ac:chgData name="Pascal Kowolik" userId="37b80ec5c5a1205d" providerId="LiveId" clId="{3F2F118F-4546-4629-A294-B027944C675F}" dt="2021-10-01T00:28:55.231" v="115"/>
          <ac:graphicFrameMkLst>
            <pc:docMk/>
            <pc:sldMk cId="3127421898" sldId="258"/>
            <ac:graphicFrameMk id="4" creationId="{6971CAF8-3089-413C-80C5-FF35D7904B9A}"/>
          </ac:graphicFrameMkLst>
        </pc:graphicFrameChg>
        <pc:cxnChg chg="add mod">
          <ac:chgData name="Pascal Kowolik" userId="37b80ec5c5a1205d" providerId="LiveId" clId="{3F2F118F-4546-4629-A294-B027944C675F}" dt="2021-10-01T00:29:13.343" v="116"/>
          <ac:cxnSpMkLst>
            <pc:docMk/>
            <pc:sldMk cId="3127421898" sldId="258"/>
            <ac:cxnSpMk id="17" creationId="{50163AC0-ACED-414C-8DE3-4F814D90D3F2}"/>
          </ac:cxnSpMkLst>
        </pc:cxnChg>
        <pc:cxnChg chg="add mod">
          <ac:chgData name="Pascal Kowolik" userId="37b80ec5c5a1205d" providerId="LiveId" clId="{3F2F118F-4546-4629-A294-B027944C675F}" dt="2021-10-01T00:29:13.343" v="116"/>
          <ac:cxnSpMkLst>
            <pc:docMk/>
            <pc:sldMk cId="3127421898" sldId="258"/>
            <ac:cxnSpMk id="18" creationId="{45FFBA23-1CEC-45F8-9CB4-D6CDAFA3D3B5}"/>
          </ac:cxnSpMkLst>
        </pc:cxnChg>
        <pc:cxnChg chg="add mod">
          <ac:chgData name="Pascal Kowolik" userId="37b80ec5c5a1205d" providerId="LiveId" clId="{3F2F118F-4546-4629-A294-B027944C675F}" dt="2021-10-01T00:29:13.343" v="116"/>
          <ac:cxnSpMkLst>
            <pc:docMk/>
            <pc:sldMk cId="3127421898" sldId="258"/>
            <ac:cxnSpMk id="19" creationId="{17D2D07D-78CA-4883-80E3-A0C669A425EC}"/>
          </ac:cxnSpMkLst>
        </pc:cxnChg>
      </pc:sldChg>
      <pc:sldChg chg="del">
        <pc:chgData name="Pascal Kowolik" userId="37b80ec5c5a1205d" providerId="LiveId" clId="{3F2F118F-4546-4629-A294-B027944C675F}" dt="2021-10-01T00:29:26.695" v="118" actId="2696"/>
        <pc:sldMkLst>
          <pc:docMk/>
          <pc:sldMk cId="3746944747" sldId="259"/>
        </pc:sldMkLst>
      </pc:sldChg>
      <pc:sldChg chg="del">
        <pc:chgData name="Pascal Kowolik" userId="37b80ec5c5a1205d" providerId="LiveId" clId="{3F2F118F-4546-4629-A294-B027944C675F}" dt="2021-10-01T00:29:28.939" v="119" actId="2696"/>
        <pc:sldMkLst>
          <pc:docMk/>
          <pc:sldMk cId="3038333881" sldId="260"/>
        </pc:sldMkLst>
      </pc:sldChg>
      <pc:sldChg chg="del">
        <pc:chgData name="Pascal Kowolik" userId="37b80ec5c5a1205d" providerId="LiveId" clId="{3F2F118F-4546-4629-A294-B027944C675F}" dt="2021-10-01T00:29:31.193" v="120" actId="2696"/>
        <pc:sldMkLst>
          <pc:docMk/>
          <pc:sldMk cId="3655962547" sldId="261"/>
        </pc:sldMkLst>
      </pc:sldChg>
      <pc:sldChg chg="del">
        <pc:chgData name="Pascal Kowolik" userId="37b80ec5c5a1205d" providerId="LiveId" clId="{3F2F118F-4546-4629-A294-B027944C675F}" dt="2021-10-01T00:29:33.060" v="121" actId="2696"/>
        <pc:sldMkLst>
          <pc:docMk/>
          <pc:sldMk cId="1540689263" sldId="262"/>
        </pc:sldMkLst>
      </pc:sldChg>
      <pc:sldChg chg="addSp modSp new add mod">
        <pc:chgData name="Pascal Kowolik" userId="37b80ec5c5a1205d" providerId="LiveId" clId="{3F2F118F-4546-4629-A294-B027944C675F}" dt="2021-10-01T00:30:29.359" v="165"/>
        <pc:sldMkLst>
          <pc:docMk/>
          <pc:sldMk cId="2644735275" sldId="264"/>
        </pc:sldMkLst>
        <pc:spChg chg="mod">
          <ac:chgData name="Pascal Kowolik" userId="37b80ec5c5a1205d" providerId="LiveId" clId="{3F2F118F-4546-4629-A294-B027944C675F}" dt="2021-10-01T00:30:29.340" v="162" actId="948"/>
          <ac:spMkLst>
            <pc:docMk/>
            <pc:sldMk cId="2644735275" sldId="264"/>
            <ac:spMk id="2" creationId="{389E25BB-ECC5-4C5D-91BC-21A96E3F6675}"/>
          </ac:spMkLst>
        </pc:spChg>
        <pc:graphicFrameChg chg="add mod ord modVis replST">
          <ac:chgData name="Pascal Kowolik" userId="37b80ec5c5a1205d" providerId="LiveId" clId="{3F2F118F-4546-4629-A294-B027944C675F}" dt="2021-10-01T00:30:29.359" v="165"/>
          <ac:graphicFrameMkLst>
            <pc:docMk/>
            <pc:sldMk cId="2644735275" sldId="264"/>
            <ac:graphicFrameMk id="3" creationId="{60C37BD4-7200-4CD1-BE8D-41A8A32AEC0D}"/>
          </ac:graphicFrameMkLst>
        </pc:graphicFrameChg>
      </pc:sldChg>
      <pc:sldChg chg="new add del">
        <pc:chgData name="Pascal Kowolik" userId="37b80ec5c5a1205d" providerId="LiveId" clId="{3F2F118F-4546-4629-A294-B027944C675F}" dt="2021-10-01T00:30:03.386" v="126" actId="2696"/>
        <pc:sldMkLst>
          <pc:docMk/>
          <pc:sldMk cId="2145702408" sldId="265"/>
        </pc:sldMkLst>
      </pc:sldChg>
      <pc:sldChg chg="addSp modSp new add mod">
        <pc:chgData name="Pascal Kowolik" userId="37b80ec5c5a1205d" providerId="LiveId" clId="{3F2F118F-4546-4629-A294-B027944C675F}" dt="2021-10-01T00:30:46.233" v="202"/>
        <pc:sldMkLst>
          <pc:docMk/>
          <pc:sldMk cId="2948401649" sldId="265"/>
        </pc:sldMkLst>
        <pc:spChg chg="mod">
          <ac:chgData name="Pascal Kowolik" userId="37b80ec5c5a1205d" providerId="LiveId" clId="{3F2F118F-4546-4629-A294-B027944C675F}" dt="2021-10-01T00:30:46.227" v="199" actId="948"/>
          <ac:spMkLst>
            <pc:docMk/>
            <pc:sldMk cId="2948401649" sldId="265"/>
            <ac:spMk id="2" creationId="{5DF28731-6F40-47D4-ACF8-43352FF159C0}"/>
          </ac:spMkLst>
        </pc:spChg>
        <pc:graphicFrameChg chg="add mod ord modVis replST">
          <ac:chgData name="Pascal Kowolik" userId="37b80ec5c5a1205d" providerId="LiveId" clId="{3F2F118F-4546-4629-A294-B027944C675F}" dt="2021-10-01T00:30:46.233" v="202"/>
          <ac:graphicFrameMkLst>
            <pc:docMk/>
            <pc:sldMk cId="2948401649" sldId="265"/>
            <ac:graphicFrameMk id="3" creationId="{452A64AE-467B-4BC8-8724-83223A95E5DE}"/>
          </ac:graphicFrameMkLst>
        </pc:graphicFrameChg>
      </pc:sldChg>
      <pc:sldChg chg="delSp del mod">
        <pc:chgData name="Pascal Kowolik" userId="37b80ec5c5a1205d" providerId="LiveId" clId="{3F2F118F-4546-4629-A294-B027944C675F}" dt="2021-10-27T00:37:34.563" v="207" actId="2696"/>
        <pc:sldMkLst>
          <pc:docMk/>
          <pc:sldMk cId="25597766" sldId="266"/>
        </pc:sldMkLst>
        <pc:grpChg chg="del">
          <ac:chgData name="Pascal Kowolik" userId="37b80ec5c5a1205d" providerId="LiveId" clId="{3F2F118F-4546-4629-A294-B027944C675F}" dt="2021-10-27T00:36:25.592" v="206" actId="478"/>
          <ac:grpSpMkLst>
            <pc:docMk/>
            <pc:sldMk cId="25597766" sldId="266"/>
            <ac:grpSpMk id="5" creationId="{19E0DCF5-1DC5-4B68-B708-ACCA61A3BEDA}"/>
          </ac:grpSpMkLst>
        </pc:grpChg>
        <pc:grpChg chg="del">
          <ac:chgData name="Pascal Kowolik" userId="37b80ec5c5a1205d" providerId="LiveId" clId="{3F2F118F-4546-4629-A294-B027944C675F}" dt="2021-10-27T00:36:25.592" v="206" actId="478"/>
          <ac:grpSpMkLst>
            <pc:docMk/>
            <pc:sldMk cId="25597766" sldId="266"/>
            <ac:grpSpMk id="8" creationId="{EE4098FF-F3F8-47CC-A2A8-1B13849AF0D5}"/>
          </ac:grpSpMkLst>
        </pc:grpChg>
        <pc:grpChg chg="del">
          <ac:chgData name="Pascal Kowolik" userId="37b80ec5c5a1205d" providerId="LiveId" clId="{3F2F118F-4546-4629-A294-B027944C675F}" dt="2021-10-27T00:36:25.592" v="206" actId="478"/>
          <ac:grpSpMkLst>
            <pc:docMk/>
            <pc:sldMk cId="25597766" sldId="266"/>
            <ac:grpSpMk id="11" creationId="{6B31ED9C-2CB7-4B9A-812D-E570383898EB}"/>
          </ac:grpSpMkLst>
        </pc:grpChg>
        <pc:grpChg chg="del">
          <ac:chgData name="Pascal Kowolik" userId="37b80ec5c5a1205d" providerId="LiveId" clId="{3F2F118F-4546-4629-A294-B027944C675F}" dt="2021-10-27T00:36:25.592" v="206" actId="478"/>
          <ac:grpSpMkLst>
            <pc:docMk/>
            <pc:sldMk cId="25597766" sldId="266"/>
            <ac:grpSpMk id="14" creationId="{9851B834-7774-42B2-9F14-93B2565F2EAF}"/>
          </ac:grpSpMkLst>
        </pc:grpChg>
        <pc:cxnChg chg="del">
          <ac:chgData name="Pascal Kowolik" userId="37b80ec5c5a1205d" providerId="LiveId" clId="{3F2F118F-4546-4629-A294-B027944C675F}" dt="2021-10-27T00:36:25.592" v="206" actId="478"/>
          <ac:cxnSpMkLst>
            <pc:docMk/>
            <pc:sldMk cId="25597766" sldId="266"/>
            <ac:cxnSpMk id="17" creationId="{50163AC0-ACED-414C-8DE3-4F814D90D3F2}"/>
          </ac:cxnSpMkLst>
        </pc:cxnChg>
        <pc:cxnChg chg="del">
          <ac:chgData name="Pascal Kowolik" userId="37b80ec5c5a1205d" providerId="LiveId" clId="{3F2F118F-4546-4629-A294-B027944C675F}" dt="2021-10-27T00:36:25.592" v="206" actId="478"/>
          <ac:cxnSpMkLst>
            <pc:docMk/>
            <pc:sldMk cId="25597766" sldId="266"/>
            <ac:cxnSpMk id="18" creationId="{45FFBA23-1CEC-45F8-9CB4-D6CDAFA3D3B5}"/>
          </ac:cxnSpMkLst>
        </pc:cxnChg>
        <pc:cxnChg chg="del">
          <ac:chgData name="Pascal Kowolik" userId="37b80ec5c5a1205d" providerId="LiveId" clId="{3F2F118F-4546-4629-A294-B027944C675F}" dt="2021-10-27T00:36:25.592" v="206" actId="478"/>
          <ac:cxnSpMkLst>
            <pc:docMk/>
            <pc:sldMk cId="25597766" sldId="266"/>
            <ac:cxnSpMk id="19" creationId="{17D2D07D-78CA-4883-80E3-A0C669A425EC}"/>
          </ac:cxnSpMkLst>
        </pc:cxnChg>
      </pc:sldChg>
      <pc:sldMasterChg chg="modSldLayout">
        <pc:chgData name="Pascal Kowolik" userId="37b80ec5c5a1205d" providerId="LiveId" clId="{3F2F118F-4546-4629-A294-B027944C675F}" dt="2021-10-01T00:34:12.433" v="205"/>
        <pc:sldMasterMkLst>
          <pc:docMk/>
          <pc:sldMasterMk cId="2480497422" sldId="2147483660"/>
        </pc:sldMasterMkLst>
        <pc:sldLayoutChg chg="addSp modSp">
          <pc:chgData name="Pascal Kowolik" userId="37b80ec5c5a1205d" providerId="LiveId" clId="{3F2F118F-4546-4629-A294-B027944C675F}" dt="2021-10-01T00:34:10.142" v="204"/>
          <pc:sldLayoutMkLst>
            <pc:docMk/>
            <pc:sldMasterMk cId="2480497422" sldId="2147483660"/>
            <pc:sldLayoutMk cId="1618054920" sldId="2147483665"/>
          </pc:sldLayoutMkLst>
          <pc:picChg chg="add mod">
            <ac:chgData name="Pascal Kowolik" userId="37b80ec5c5a1205d" providerId="LiveId" clId="{3F2F118F-4546-4629-A294-B027944C675F}" dt="2021-10-01T00:34:10.142" v="204"/>
            <ac:picMkLst>
              <pc:docMk/>
              <pc:sldMasterMk cId="2480497422" sldId="2147483660"/>
              <pc:sldLayoutMk cId="1618054920" sldId="2147483665"/>
              <ac:picMk id="6" creationId="{F6AF737F-DB2A-4D5B-8586-65F5DC75C289}"/>
            </ac:picMkLst>
          </pc:picChg>
        </pc:sldLayoutChg>
        <pc:sldLayoutChg chg="addSp modSp">
          <pc:chgData name="Pascal Kowolik" userId="37b80ec5c5a1205d" providerId="LiveId" clId="{3F2F118F-4546-4629-A294-B027944C675F}" dt="2021-10-01T00:34:12.433" v="205"/>
          <pc:sldLayoutMkLst>
            <pc:docMk/>
            <pc:sldMasterMk cId="2480497422" sldId="2147483660"/>
            <pc:sldLayoutMk cId="4141257984" sldId="2147483666"/>
          </pc:sldLayoutMkLst>
          <pc:picChg chg="add mod">
            <ac:chgData name="Pascal Kowolik" userId="37b80ec5c5a1205d" providerId="LiveId" clId="{3F2F118F-4546-4629-A294-B027944C675F}" dt="2021-10-01T00:34:12.433" v="205"/>
            <ac:picMkLst>
              <pc:docMk/>
              <pc:sldMasterMk cId="2480497422" sldId="2147483660"/>
              <pc:sldLayoutMk cId="4141257984" sldId="2147483666"/>
              <ac:picMk id="6" creationId="{C9101785-1FF0-4325-B663-AFABD86C2A87}"/>
            </ac:picMkLst>
          </pc:picChg>
        </pc:sldLayoutChg>
        <pc:sldLayoutChg chg="addSp modSp">
          <pc:chgData name="Pascal Kowolik" userId="37b80ec5c5a1205d" providerId="LiveId" clId="{3F2F118F-4546-4629-A294-B027944C675F}" dt="2021-10-01T00:34:05.614" v="203"/>
          <pc:sldLayoutMkLst>
            <pc:docMk/>
            <pc:sldMasterMk cId="2480497422" sldId="2147483660"/>
            <pc:sldLayoutMk cId="4081781178" sldId="2147483667"/>
          </pc:sldLayoutMkLst>
          <pc:picChg chg="add mod">
            <ac:chgData name="Pascal Kowolik" userId="37b80ec5c5a1205d" providerId="LiveId" clId="{3F2F118F-4546-4629-A294-B027944C675F}" dt="2021-10-01T00:34:05.614" v="203"/>
            <ac:picMkLst>
              <pc:docMk/>
              <pc:sldMasterMk cId="2480497422" sldId="2147483660"/>
              <pc:sldLayoutMk cId="4081781178" sldId="2147483667"/>
              <ac:picMk id="6" creationId="{FD129303-4C79-4EE7-B7C7-81121CA93AE9}"/>
            </ac:picMkLst>
          </pc:picChg>
        </pc:sldLayout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C498F34-46DA-49D1-BD3A-A5D97F655C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4987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01" imgH="502" progId="TCLayout.ActiveDocument.1">
                  <p:embed/>
                </p:oleObj>
              </mc:Choice>
              <mc:Fallback>
                <p:oleObj name="think-cell Folie" r:id="rId3" imgW="501" imgH="502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C498F34-46DA-49D1-BD3A-A5D97F655C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326F0CB8-7B18-4B51-A97C-CD1BDA860E95}"/>
              </a:ext>
            </a:extLst>
          </p:cNvPr>
          <p:cNvSpPr/>
          <p:nvPr userDrawn="1"/>
        </p:nvSpPr>
        <p:spPr>
          <a:xfrm>
            <a:off x="2" y="5827581"/>
            <a:ext cx="12191999" cy="1034356"/>
          </a:xfrm>
          <a:custGeom>
            <a:avLst/>
            <a:gdLst>
              <a:gd name="connsiteX0" fmla="*/ 2391408 w 12191999"/>
              <a:gd name="connsiteY0" fmla="*/ 940 h 1034356"/>
              <a:gd name="connsiteX1" fmla="*/ 2885686 w 12191999"/>
              <a:gd name="connsiteY1" fmla="*/ 5057 h 1034356"/>
              <a:gd name="connsiteX2" fmla="*/ 8627579 w 12191999"/>
              <a:gd name="connsiteY2" fmla="*/ 650515 h 1034356"/>
              <a:gd name="connsiteX3" fmla="*/ 12183860 w 12191999"/>
              <a:gd name="connsiteY3" fmla="*/ 343170 h 1034356"/>
              <a:gd name="connsiteX4" fmla="*/ 12191999 w 12191999"/>
              <a:gd name="connsiteY4" fmla="*/ 343495 h 1034356"/>
              <a:gd name="connsiteX5" fmla="*/ 12191999 w 12191999"/>
              <a:gd name="connsiteY5" fmla="*/ 1034356 h 1034356"/>
              <a:gd name="connsiteX6" fmla="*/ 0 w 12191999"/>
              <a:gd name="connsiteY6" fmla="*/ 1034356 h 1034356"/>
              <a:gd name="connsiteX7" fmla="*/ 0 w 12191999"/>
              <a:gd name="connsiteY7" fmla="*/ 562516 h 1034356"/>
              <a:gd name="connsiteX8" fmla="*/ 59919 w 12191999"/>
              <a:gd name="connsiteY8" fmla="*/ 529715 h 1034356"/>
              <a:gd name="connsiteX9" fmla="*/ 270233 w 12191999"/>
              <a:gd name="connsiteY9" fmla="*/ 415192 h 1034356"/>
              <a:gd name="connsiteX10" fmla="*/ 2391408 w 12191999"/>
              <a:gd name="connsiteY10" fmla="*/ 940 h 1034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1999" h="1034356">
                <a:moveTo>
                  <a:pt x="2391408" y="940"/>
                </a:moveTo>
                <a:cubicBezTo>
                  <a:pt x="2546988" y="-1107"/>
                  <a:pt x="2711575" y="155"/>
                  <a:pt x="2885686" y="5057"/>
                </a:cubicBezTo>
                <a:cubicBezTo>
                  <a:pt x="4278576" y="44277"/>
                  <a:pt x="7030741" y="590003"/>
                  <a:pt x="8627579" y="650515"/>
                </a:cubicBezTo>
                <a:cubicBezTo>
                  <a:pt x="10024812" y="703463"/>
                  <a:pt x="11427193" y="342021"/>
                  <a:pt x="12183860" y="343170"/>
                </a:cubicBezTo>
                <a:lnTo>
                  <a:pt x="12191999" y="343495"/>
                </a:lnTo>
                <a:lnTo>
                  <a:pt x="12191999" y="1034356"/>
                </a:lnTo>
                <a:lnTo>
                  <a:pt x="0" y="1034356"/>
                </a:lnTo>
                <a:lnTo>
                  <a:pt x="0" y="562516"/>
                </a:lnTo>
                <a:lnTo>
                  <a:pt x="59919" y="529715"/>
                </a:lnTo>
                <a:cubicBezTo>
                  <a:pt x="142083" y="485929"/>
                  <a:pt x="215324" y="447129"/>
                  <a:pt x="270233" y="415192"/>
                </a:cubicBezTo>
                <a:cubicBezTo>
                  <a:pt x="654595" y="191635"/>
                  <a:pt x="1302347" y="15265"/>
                  <a:pt x="2391408" y="94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4CAA9C68-EDC7-4847-BA3C-582A49C68826}"/>
              </a:ext>
            </a:extLst>
          </p:cNvPr>
          <p:cNvSpPr/>
          <p:nvPr userDrawn="1"/>
        </p:nvSpPr>
        <p:spPr>
          <a:xfrm>
            <a:off x="0" y="5914666"/>
            <a:ext cx="12192000" cy="943334"/>
          </a:xfrm>
          <a:custGeom>
            <a:avLst/>
            <a:gdLst>
              <a:gd name="connsiteX0" fmla="*/ 2456723 w 12192000"/>
              <a:gd name="connsiteY0" fmla="*/ 940 h 943334"/>
              <a:gd name="connsiteX1" fmla="*/ 2951000 w 12192000"/>
              <a:gd name="connsiteY1" fmla="*/ 5057 h 943334"/>
              <a:gd name="connsiteX2" fmla="*/ 8692894 w 12192000"/>
              <a:gd name="connsiteY2" fmla="*/ 650515 h 943334"/>
              <a:gd name="connsiteX3" fmla="*/ 12077386 w 12192000"/>
              <a:gd name="connsiteY3" fmla="*/ 348190 h 943334"/>
              <a:gd name="connsiteX4" fmla="*/ 12192000 w 12192000"/>
              <a:gd name="connsiteY4" fmla="*/ 344841 h 943334"/>
              <a:gd name="connsiteX5" fmla="*/ 12192000 w 12192000"/>
              <a:gd name="connsiteY5" fmla="*/ 943334 h 943334"/>
              <a:gd name="connsiteX6" fmla="*/ 0 w 12192000"/>
              <a:gd name="connsiteY6" fmla="*/ 943334 h 943334"/>
              <a:gd name="connsiteX7" fmla="*/ 0 w 12192000"/>
              <a:gd name="connsiteY7" fmla="*/ 598270 h 943334"/>
              <a:gd name="connsiteX8" fmla="*/ 125233 w 12192000"/>
              <a:gd name="connsiteY8" fmla="*/ 529715 h 943334"/>
              <a:gd name="connsiteX9" fmla="*/ 335547 w 12192000"/>
              <a:gd name="connsiteY9" fmla="*/ 415192 h 943334"/>
              <a:gd name="connsiteX10" fmla="*/ 2456723 w 12192000"/>
              <a:gd name="connsiteY10" fmla="*/ 940 h 943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943334">
                <a:moveTo>
                  <a:pt x="2456723" y="940"/>
                </a:moveTo>
                <a:cubicBezTo>
                  <a:pt x="2612303" y="-1107"/>
                  <a:pt x="2776889" y="155"/>
                  <a:pt x="2951000" y="5057"/>
                </a:cubicBezTo>
                <a:cubicBezTo>
                  <a:pt x="4343892" y="44277"/>
                  <a:pt x="7096056" y="590003"/>
                  <a:pt x="8692894" y="650515"/>
                </a:cubicBezTo>
                <a:cubicBezTo>
                  <a:pt x="9990325" y="699681"/>
                  <a:pt x="11292195" y="391541"/>
                  <a:pt x="12077386" y="348190"/>
                </a:cubicBezTo>
                <a:lnTo>
                  <a:pt x="12192000" y="344841"/>
                </a:lnTo>
                <a:lnTo>
                  <a:pt x="12192000" y="943334"/>
                </a:lnTo>
                <a:lnTo>
                  <a:pt x="0" y="943334"/>
                </a:lnTo>
                <a:lnTo>
                  <a:pt x="0" y="598270"/>
                </a:lnTo>
                <a:lnTo>
                  <a:pt x="125233" y="529715"/>
                </a:lnTo>
                <a:cubicBezTo>
                  <a:pt x="207397" y="485929"/>
                  <a:pt x="280638" y="447129"/>
                  <a:pt x="335547" y="415192"/>
                </a:cubicBezTo>
                <a:cubicBezTo>
                  <a:pt x="719909" y="191635"/>
                  <a:pt x="1367662" y="15265"/>
                  <a:pt x="2456723" y="94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7D3DC453-3B75-433A-BB25-21108DB774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413748"/>
            <a:ext cx="12192000" cy="1015252"/>
          </a:xfrm>
        </p:spPr>
        <p:txBody>
          <a:bodyPr vert="horz" anchor="b"/>
          <a:lstStyle>
            <a:lvl1pPr algn="ctr">
              <a:defRPr sz="6000"/>
            </a:lvl1pPr>
          </a:lstStyle>
          <a:p>
            <a:endParaRPr lang="de-DE" dirty="0"/>
          </a:p>
        </p:txBody>
      </p:sp>
      <p:pic>
        <p:nvPicPr>
          <p:cNvPr id="6" name="Grafik 5" descr="Ein Bild, das Text, Schild, draußen enthält.&#10;&#10;Automatisch generierte Beschreibung">
            <a:extLst>
              <a:ext uri="{FF2B5EF4-FFF2-40B4-BE49-F238E27FC236}">
                <a16:creationId xmlns:a16="http://schemas.microsoft.com/office/drawing/2014/main" id="{FD129303-4C79-4EE7-B7C7-81121CA93AE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4386" y="6248616"/>
            <a:ext cx="709594" cy="424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7811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C498F34-46DA-49D1-BD3A-A5D97F655C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3121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01" imgH="502" progId="TCLayout.ActiveDocument.1">
                  <p:embed/>
                </p:oleObj>
              </mc:Choice>
              <mc:Fallback>
                <p:oleObj name="think-cell Folie" r:id="rId3" imgW="501" imgH="502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C498F34-46DA-49D1-BD3A-A5D97F655C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C6395B5-E2CB-4953-A43A-F7E01D285F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337" y="119301"/>
            <a:ext cx="6833558" cy="712997"/>
          </a:xfrm>
        </p:spPr>
        <p:txBody>
          <a:bodyPr vert="horz"/>
          <a:lstStyle/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66294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W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C498F34-46DA-49D1-BD3A-A5D97F655C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274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01" imgH="502" progId="TCLayout.ActiveDocument.1">
                  <p:embed/>
                </p:oleObj>
              </mc:Choice>
              <mc:Fallback>
                <p:oleObj name="think-cell Folie" r:id="rId3" imgW="501" imgH="502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C498F34-46DA-49D1-BD3A-A5D97F655C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326F0CB8-7B18-4B51-A97C-CD1BDA860E95}"/>
              </a:ext>
            </a:extLst>
          </p:cNvPr>
          <p:cNvSpPr/>
          <p:nvPr userDrawn="1"/>
        </p:nvSpPr>
        <p:spPr>
          <a:xfrm>
            <a:off x="2" y="5827581"/>
            <a:ext cx="12191999" cy="1034356"/>
          </a:xfrm>
          <a:custGeom>
            <a:avLst/>
            <a:gdLst>
              <a:gd name="connsiteX0" fmla="*/ 2391408 w 12191999"/>
              <a:gd name="connsiteY0" fmla="*/ 940 h 1034356"/>
              <a:gd name="connsiteX1" fmla="*/ 2885686 w 12191999"/>
              <a:gd name="connsiteY1" fmla="*/ 5057 h 1034356"/>
              <a:gd name="connsiteX2" fmla="*/ 8627579 w 12191999"/>
              <a:gd name="connsiteY2" fmla="*/ 650515 h 1034356"/>
              <a:gd name="connsiteX3" fmla="*/ 12183860 w 12191999"/>
              <a:gd name="connsiteY3" fmla="*/ 343170 h 1034356"/>
              <a:gd name="connsiteX4" fmla="*/ 12191999 w 12191999"/>
              <a:gd name="connsiteY4" fmla="*/ 343495 h 1034356"/>
              <a:gd name="connsiteX5" fmla="*/ 12191999 w 12191999"/>
              <a:gd name="connsiteY5" fmla="*/ 1034356 h 1034356"/>
              <a:gd name="connsiteX6" fmla="*/ 0 w 12191999"/>
              <a:gd name="connsiteY6" fmla="*/ 1034356 h 1034356"/>
              <a:gd name="connsiteX7" fmla="*/ 0 w 12191999"/>
              <a:gd name="connsiteY7" fmla="*/ 562516 h 1034356"/>
              <a:gd name="connsiteX8" fmla="*/ 59919 w 12191999"/>
              <a:gd name="connsiteY8" fmla="*/ 529715 h 1034356"/>
              <a:gd name="connsiteX9" fmla="*/ 270233 w 12191999"/>
              <a:gd name="connsiteY9" fmla="*/ 415192 h 1034356"/>
              <a:gd name="connsiteX10" fmla="*/ 2391408 w 12191999"/>
              <a:gd name="connsiteY10" fmla="*/ 940 h 1034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1999" h="1034356">
                <a:moveTo>
                  <a:pt x="2391408" y="940"/>
                </a:moveTo>
                <a:cubicBezTo>
                  <a:pt x="2546988" y="-1107"/>
                  <a:pt x="2711575" y="155"/>
                  <a:pt x="2885686" y="5057"/>
                </a:cubicBezTo>
                <a:cubicBezTo>
                  <a:pt x="4278576" y="44277"/>
                  <a:pt x="7030741" y="590003"/>
                  <a:pt x="8627579" y="650515"/>
                </a:cubicBezTo>
                <a:cubicBezTo>
                  <a:pt x="10024812" y="703463"/>
                  <a:pt x="11427193" y="342021"/>
                  <a:pt x="12183860" y="343170"/>
                </a:cubicBezTo>
                <a:lnTo>
                  <a:pt x="12191999" y="343495"/>
                </a:lnTo>
                <a:lnTo>
                  <a:pt x="12191999" y="1034356"/>
                </a:lnTo>
                <a:lnTo>
                  <a:pt x="0" y="1034356"/>
                </a:lnTo>
                <a:lnTo>
                  <a:pt x="0" y="562516"/>
                </a:lnTo>
                <a:lnTo>
                  <a:pt x="59919" y="529715"/>
                </a:lnTo>
                <a:cubicBezTo>
                  <a:pt x="142083" y="485929"/>
                  <a:pt x="215324" y="447129"/>
                  <a:pt x="270233" y="415192"/>
                </a:cubicBezTo>
                <a:cubicBezTo>
                  <a:pt x="654595" y="191635"/>
                  <a:pt x="1302347" y="15265"/>
                  <a:pt x="2391408" y="94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4CAA9C68-EDC7-4847-BA3C-582A49C68826}"/>
              </a:ext>
            </a:extLst>
          </p:cNvPr>
          <p:cNvSpPr/>
          <p:nvPr userDrawn="1"/>
        </p:nvSpPr>
        <p:spPr>
          <a:xfrm>
            <a:off x="0" y="5914666"/>
            <a:ext cx="12192000" cy="943334"/>
          </a:xfrm>
          <a:custGeom>
            <a:avLst/>
            <a:gdLst>
              <a:gd name="connsiteX0" fmla="*/ 2456723 w 12192000"/>
              <a:gd name="connsiteY0" fmla="*/ 940 h 943334"/>
              <a:gd name="connsiteX1" fmla="*/ 2951000 w 12192000"/>
              <a:gd name="connsiteY1" fmla="*/ 5057 h 943334"/>
              <a:gd name="connsiteX2" fmla="*/ 8692894 w 12192000"/>
              <a:gd name="connsiteY2" fmla="*/ 650515 h 943334"/>
              <a:gd name="connsiteX3" fmla="*/ 12077386 w 12192000"/>
              <a:gd name="connsiteY3" fmla="*/ 348190 h 943334"/>
              <a:gd name="connsiteX4" fmla="*/ 12192000 w 12192000"/>
              <a:gd name="connsiteY4" fmla="*/ 344841 h 943334"/>
              <a:gd name="connsiteX5" fmla="*/ 12192000 w 12192000"/>
              <a:gd name="connsiteY5" fmla="*/ 943334 h 943334"/>
              <a:gd name="connsiteX6" fmla="*/ 0 w 12192000"/>
              <a:gd name="connsiteY6" fmla="*/ 943334 h 943334"/>
              <a:gd name="connsiteX7" fmla="*/ 0 w 12192000"/>
              <a:gd name="connsiteY7" fmla="*/ 598270 h 943334"/>
              <a:gd name="connsiteX8" fmla="*/ 125233 w 12192000"/>
              <a:gd name="connsiteY8" fmla="*/ 529715 h 943334"/>
              <a:gd name="connsiteX9" fmla="*/ 335547 w 12192000"/>
              <a:gd name="connsiteY9" fmla="*/ 415192 h 943334"/>
              <a:gd name="connsiteX10" fmla="*/ 2456723 w 12192000"/>
              <a:gd name="connsiteY10" fmla="*/ 940 h 943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943334">
                <a:moveTo>
                  <a:pt x="2456723" y="940"/>
                </a:moveTo>
                <a:cubicBezTo>
                  <a:pt x="2612303" y="-1107"/>
                  <a:pt x="2776889" y="155"/>
                  <a:pt x="2951000" y="5057"/>
                </a:cubicBezTo>
                <a:cubicBezTo>
                  <a:pt x="4343892" y="44277"/>
                  <a:pt x="7096056" y="590003"/>
                  <a:pt x="8692894" y="650515"/>
                </a:cubicBezTo>
                <a:cubicBezTo>
                  <a:pt x="9990325" y="699681"/>
                  <a:pt x="11292195" y="391541"/>
                  <a:pt x="12077386" y="348190"/>
                </a:cubicBezTo>
                <a:lnTo>
                  <a:pt x="12192000" y="344841"/>
                </a:lnTo>
                <a:lnTo>
                  <a:pt x="12192000" y="943334"/>
                </a:lnTo>
                <a:lnTo>
                  <a:pt x="0" y="943334"/>
                </a:lnTo>
                <a:lnTo>
                  <a:pt x="0" y="598270"/>
                </a:lnTo>
                <a:lnTo>
                  <a:pt x="125233" y="529715"/>
                </a:lnTo>
                <a:cubicBezTo>
                  <a:pt x="207397" y="485929"/>
                  <a:pt x="280638" y="447129"/>
                  <a:pt x="335547" y="415192"/>
                </a:cubicBezTo>
                <a:cubicBezTo>
                  <a:pt x="719909" y="191635"/>
                  <a:pt x="1367662" y="15265"/>
                  <a:pt x="2456723" y="94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6395B5-E2CB-4953-A43A-F7E01D285F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337" y="119301"/>
            <a:ext cx="6833558" cy="712997"/>
          </a:xfrm>
        </p:spPr>
        <p:txBody>
          <a:bodyPr vert="horz"/>
          <a:lstStyle/>
          <a:p>
            <a:r>
              <a:rPr lang="de-DE" dirty="0"/>
              <a:t>Mastertitelformat bearbeiten</a:t>
            </a:r>
          </a:p>
        </p:txBody>
      </p:sp>
      <p:pic>
        <p:nvPicPr>
          <p:cNvPr id="6" name="Grafik 5" descr="Ein Bild, das Text, Schild, draußen enthält.&#10;&#10;Automatisch generierte Beschreibung">
            <a:extLst>
              <a:ext uri="{FF2B5EF4-FFF2-40B4-BE49-F238E27FC236}">
                <a16:creationId xmlns:a16="http://schemas.microsoft.com/office/drawing/2014/main" id="{F6AF737F-DB2A-4D5B-8586-65F5DC75C28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4386" y="6248616"/>
            <a:ext cx="709594" cy="424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0549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Welle Crem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C498F34-46DA-49D1-BD3A-A5D97F655C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7299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01" imgH="502" progId="TCLayout.ActiveDocument.1">
                  <p:embed/>
                </p:oleObj>
              </mc:Choice>
              <mc:Fallback>
                <p:oleObj name="think-cell Folie" r:id="rId3" imgW="501" imgH="502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C498F34-46DA-49D1-BD3A-A5D97F655C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326F0CB8-7B18-4B51-A97C-CD1BDA860E95}"/>
              </a:ext>
            </a:extLst>
          </p:cNvPr>
          <p:cNvSpPr/>
          <p:nvPr userDrawn="1"/>
        </p:nvSpPr>
        <p:spPr>
          <a:xfrm>
            <a:off x="2" y="5827581"/>
            <a:ext cx="12191999" cy="1034356"/>
          </a:xfrm>
          <a:custGeom>
            <a:avLst/>
            <a:gdLst>
              <a:gd name="connsiteX0" fmla="*/ 2391408 w 12191999"/>
              <a:gd name="connsiteY0" fmla="*/ 940 h 1034356"/>
              <a:gd name="connsiteX1" fmla="*/ 2885686 w 12191999"/>
              <a:gd name="connsiteY1" fmla="*/ 5057 h 1034356"/>
              <a:gd name="connsiteX2" fmla="*/ 8627579 w 12191999"/>
              <a:gd name="connsiteY2" fmla="*/ 650515 h 1034356"/>
              <a:gd name="connsiteX3" fmla="*/ 12183860 w 12191999"/>
              <a:gd name="connsiteY3" fmla="*/ 343170 h 1034356"/>
              <a:gd name="connsiteX4" fmla="*/ 12191999 w 12191999"/>
              <a:gd name="connsiteY4" fmla="*/ 343495 h 1034356"/>
              <a:gd name="connsiteX5" fmla="*/ 12191999 w 12191999"/>
              <a:gd name="connsiteY5" fmla="*/ 1034356 h 1034356"/>
              <a:gd name="connsiteX6" fmla="*/ 0 w 12191999"/>
              <a:gd name="connsiteY6" fmla="*/ 1034356 h 1034356"/>
              <a:gd name="connsiteX7" fmla="*/ 0 w 12191999"/>
              <a:gd name="connsiteY7" fmla="*/ 562516 h 1034356"/>
              <a:gd name="connsiteX8" fmla="*/ 59919 w 12191999"/>
              <a:gd name="connsiteY8" fmla="*/ 529715 h 1034356"/>
              <a:gd name="connsiteX9" fmla="*/ 270233 w 12191999"/>
              <a:gd name="connsiteY9" fmla="*/ 415192 h 1034356"/>
              <a:gd name="connsiteX10" fmla="*/ 2391408 w 12191999"/>
              <a:gd name="connsiteY10" fmla="*/ 940 h 1034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1999" h="1034356">
                <a:moveTo>
                  <a:pt x="2391408" y="940"/>
                </a:moveTo>
                <a:cubicBezTo>
                  <a:pt x="2546988" y="-1107"/>
                  <a:pt x="2711575" y="155"/>
                  <a:pt x="2885686" y="5057"/>
                </a:cubicBezTo>
                <a:cubicBezTo>
                  <a:pt x="4278576" y="44277"/>
                  <a:pt x="7030741" y="590003"/>
                  <a:pt x="8627579" y="650515"/>
                </a:cubicBezTo>
                <a:cubicBezTo>
                  <a:pt x="10024812" y="703463"/>
                  <a:pt x="11427193" y="342021"/>
                  <a:pt x="12183860" y="343170"/>
                </a:cubicBezTo>
                <a:lnTo>
                  <a:pt x="12191999" y="343495"/>
                </a:lnTo>
                <a:lnTo>
                  <a:pt x="12191999" y="1034356"/>
                </a:lnTo>
                <a:lnTo>
                  <a:pt x="0" y="1034356"/>
                </a:lnTo>
                <a:lnTo>
                  <a:pt x="0" y="562516"/>
                </a:lnTo>
                <a:lnTo>
                  <a:pt x="59919" y="529715"/>
                </a:lnTo>
                <a:cubicBezTo>
                  <a:pt x="142083" y="485929"/>
                  <a:pt x="215324" y="447129"/>
                  <a:pt x="270233" y="415192"/>
                </a:cubicBezTo>
                <a:cubicBezTo>
                  <a:pt x="654595" y="191635"/>
                  <a:pt x="1302347" y="15265"/>
                  <a:pt x="2391408" y="94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6395B5-E2CB-4953-A43A-F7E01D285F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337" y="119301"/>
            <a:ext cx="6833558" cy="712997"/>
          </a:xfrm>
        </p:spPr>
        <p:txBody>
          <a:bodyPr vert="horz"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4CAA9C68-EDC7-4847-BA3C-582A49C68826}"/>
              </a:ext>
            </a:extLst>
          </p:cNvPr>
          <p:cNvSpPr/>
          <p:nvPr userDrawn="1"/>
        </p:nvSpPr>
        <p:spPr>
          <a:xfrm>
            <a:off x="0" y="5914666"/>
            <a:ext cx="12192000" cy="943334"/>
          </a:xfrm>
          <a:custGeom>
            <a:avLst/>
            <a:gdLst>
              <a:gd name="connsiteX0" fmla="*/ 2456723 w 12192000"/>
              <a:gd name="connsiteY0" fmla="*/ 940 h 943334"/>
              <a:gd name="connsiteX1" fmla="*/ 2951000 w 12192000"/>
              <a:gd name="connsiteY1" fmla="*/ 5057 h 943334"/>
              <a:gd name="connsiteX2" fmla="*/ 8692894 w 12192000"/>
              <a:gd name="connsiteY2" fmla="*/ 650515 h 943334"/>
              <a:gd name="connsiteX3" fmla="*/ 12077386 w 12192000"/>
              <a:gd name="connsiteY3" fmla="*/ 348190 h 943334"/>
              <a:gd name="connsiteX4" fmla="*/ 12192000 w 12192000"/>
              <a:gd name="connsiteY4" fmla="*/ 344841 h 943334"/>
              <a:gd name="connsiteX5" fmla="*/ 12192000 w 12192000"/>
              <a:gd name="connsiteY5" fmla="*/ 943334 h 943334"/>
              <a:gd name="connsiteX6" fmla="*/ 0 w 12192000"/>
              <a:gd name="connsiteY6" fmla="*/ 943334 h 943334"/>
              <a:gd name="connsiteX7" fmla="*/ 0 w 12192000"/>
              <a:gd name="connsiteY7" fmla="*/ 598270 h 943334"/>
              <a:gd name="connsiteX8" fmla="*/ 125233 w 12192000"/>
              <a:gd name="connsiteY8" fmla="*/ 529715 h 943334"/>
              <a:gd name="connsiteX9" fmla="*/ 335547 w 12192000"/>
              <a:gd name="connsiteY9" fmla="*/ 415192 h 943334"/>
              <a:gd name="connsiteX10" fmla="*/ 2456723 w 12192000"/>
              <a:gd name="connsiteY10" fmla="*/ 940 h 943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943334">
                <a:moveTo>
                  <a:pt x="2456723" y="940"/>
                </a:moveTo>
                <a:cubicBezTo>
                  <a:pt x="2612303" y="-1107"/>
                  <a:pt x="2776889" y="155"/>
                  <a:pt x="2951000" y="5057"/>
                </a:cubicBezTo>
                <a:cubicBezTo>
                  <a:pt x="4343892" y="44277"/>
                  <a:pt x="7096056" y="590003"/>
                  <a:pt x="8692894" y="650515"/>
                </a:cubicBezTo>
                <a:cubicBezTo>
                  <a:pt x="9990325" y="699681"/>
                  <a:pt x="11292195" y="391541"/>
                  <a:pt x="12077386" y="348190"/>
                </a:cubicBezTo>
                <a:lnTo>
                  <a:pt x="12192000" y="344841"/>
                </a:lnTo>
                <a:lnTo>
                  <a:pt x="12192000" y="943334"/>
                </a:lnTo>
                <a:lnTo>
                  <a:pt x="0" y="943334"/>
                </a:lnTo>
                <a:lnTo>
                  <a:pt x="0" y="598270"/>
                </a:lnTo>
                <a:lnTo>
                  <a:pt x="125233" y="529715"/>
                </a:lnTo>
                <a:cubicBezTo>
                  <a:pt x="207397" y="485929"/>
                  <a:pt x="280638" y="447129"/>
                  <a:pt x="335547" y="415192"/>
                </a:cubicBezTo>
                <a:cubicBezTo>
                  <a:pt x="719909" y="191635"/>
                  <a:pt x="1367662" y="15265"/>
                  <a:pt x="2456723" y="94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6" name="Grafik 5" descr="Ein Bild, das Text, Schild, draußen enthält.&#10;&#10;Automatisch generierte Beschreibung">
            <a:extLst>
              <a:ext uri="{FF2B5EF4-FFF2-40B4-BE49-F238E27FC236}">
                <a16:creationId xmlns:a16="http://schemas.microsoft.com/office/drawing/2014/main" id="{C9101785-1FF0-4325-B663-AFABD86C2A8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4386" y="6248616"/>
            <a:ext cx="709594" cy="424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2579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36BEFCF-1B8A-41B6-8BA7-6406A20C7E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164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01" imgH="502" progId="TCLayout.ActiveDocument.1">
                  <p:embed/>
                </p:oleObj>
              </mc:Choice>
              <mc:Fallback>
                <p:oleObj name="think-cell Folie" r:id="rId3" imgW="501" imgH="502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36BEFCF-1B8A-41B6-8BA7-6406A20C7E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072CF3C1-FD9F-439C-9116-60286333C1AF}"/>
              </a:ext>
            </a:extLst>
          </p:cNvPr>
          <p:cNvSpPr/>
          <p:nvPr userDrawn="1"/>
        </p:nvSpPr>
        <p:spPr>
          <a:xfrm>
            <a:off x="10463048" y="84083"/>
            <a:ext cx="1613338" cy="135057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6D50BE63-2682-420A-82FF-09ECCDC125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921374"/>
            <a:ext cx="12192000" cy="1015252"/>
          </a:xfrm>
        </p:spPr>
        <p:txBody>
          <a:bodyPr vert="horz" anchor="b"/>
          <a:lstStyle>
            <a:lvl1pPr algn="ctr">
              <a:defRPr sz="60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271724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973D0FA-8D89-4772-B016-187021F3EA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1273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01" imgH="502" progId="TCLayout.ActiveDocument.1">
                  <p:embed/>
                </p:oleObj>
              </mc:Choice>
              <mc:Fallback>
                <p:oleObj name="think-cell Folie" r:id="rId3" imgW="501" imgH="502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973D0FA-8D89-4772-B016-187021F3EA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8EB7ECD-34B2-46F7-85F1-F41486D260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921374"/>
            <a:ext cx="12192000" cy="1015252"/>
          </a:xfrm>
        </p:spPr>
        <p:txBody>
          <a:bodyPr vert="horz" anchor="b"/>
          <a:lstStyle>
            <a:lvl1pPr algn="ctr">
              <a:defRPr sz="60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09404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983E4D7-9515-4522-A6F6-12774C7444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973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01" imgH="502" progId="TCLayout.ActiveDocument.1">
                  <p:embed/>
                </p:oleObj>
              </mc:Choice>
              <mc:Fallback>
                <p:oleObj name="think-cell Folie" r:id="rId3" imgW="501" imgH="502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983E4D7-9515-4522-A6F6-12774C7444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788162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02D7D1B-3C7A-40A6-A354-6235872A29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670637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501" imgH="502" progId="TCLayout.ActiveDocument.1">
                  <p:embed/>
                </p:oleObj>
              </mc:Choice>
              <mc:Fallback>
                <p:oleObj name="think-cell Folie" r:id="rId10" imgW="501" imgH="502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02D7D1B-3C7A-40A6-A354-6235872A29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1C2C3A4-4D00-49E8-B9A0-D903A5EC9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23C7792-E4EC-4AC3-B73A-34A741E142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6BA16206-C95E-4579-926C-E1663D593A59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3619" y="184593"/>
            <a:ext cx="1340361" cy="992888"/>
          </a:xfrm>
          <a:prstGeom prst="rect">
            <a:avLst/>
          </a:prstGeom>
        </p:spPr>
      </p:pic>
      <p:pic>
        <p:nvPicPr>
          <p:cNvPr id="6" name="Grafik 5" descr="Ein Bild, das Text, Schild, draußen enthält.&#10;&#10;Automatisch generierte Beschreibung">
            <a:extLst>
              <a:ext uri="{FF2B5EF4-FFF2-40B4-BE49-F238E27FC236}">
                <a16:creationId xmlns:a16="http://schemas.microsoft.com/office/drawing/2014/main" id="{7BFA6E0D-4D60-4DEE-A8DD-83FB07EE2B91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4386" y="6248616"/>
            <a:ext cx="709594" cy="424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497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2" r:id="rId2"/>
    <p:sldLayoutId id="2147483665" r:id="rId3"/>
    <p:sldLayoutId id="2147483666" r:id="rId4"/>
    <p:sldLayoutId id="2147483661" r:id="rId5"/>
    <p:sldLayoutId id="2147483663" r:id="rId6"/>
    <p:sldLayoutId id="2147483664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F9380C1-BF45-440E-8E70-48EB812548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3216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01" imgH="502" progId="TCLayout.ActiveDocument.1">
                  <p:embed/>
                </p:oleObj>
              </mc:Choice>
              <mc:Fallback>
                <p:oleObj name="think-cell Folie" r:id="rId3" imgW="501" imgH="502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F9380C1-BF45-440E-8E70-48EB812548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59072A0-1E1B-4596-A34D-A551F6206D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DESIGN REGEL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6F5B022-4794-430D-BBB4-D185A1AF703F}"/>
              </a:ext>
            </a:extLst>
          </p:cNvPr>
          <p:cNvSpPr txBox="1"/>
          <p:nvPr/>
        </p:nvSpPr>
        <p:spPr>
          <a:xfrm>
            <a:off x="349135" y="1257993"/>
            <a:ext cx="719328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u="sng" dirty="0">
                <a:latin typeface="Arial" panose="020B0604020202020204" pitchFamily="34" charset="0"/>
                <a:cs typeface="Arial" panose="020B0604020202020204" pitchFamily="34" charset="0"/>
              </a:rPr>
              <a:t>Schriftar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rial</a:t>
            </a: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b="1" u="sng" dirty="0">
                <a:latin typeface="Arial" panose="020B0604020202020204" pitchFamily="34" charset="0"/>
                <a:cs typeface="Arial" panose="020B0604020202020204" pitchFamily="34" charset="0"/>
              </a:rPr>
              <a:t>Überschrift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Werden in </a:t>
            </a:r>
            <a:r>
              <a:rPr lang="de-DE" i="1" u="sng" dirty="0">
                <a:latin typeface="Arial" panose="020B0604020202020204" pitchFamily="34" charset="0"/>
                <a:cs typeface="Arial" panose="020B0604020202020204" pitchFamily="34" charset="0"/>
              </a:rPr>
              <a:t>Caps Lock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geschrieben</a:t>
            </a:r>
          </a:p>
        </p:txBody>
      </p:sp>
    </p:spTree>
    <p:extLst>
      <p:ext uri="{BB962C8B-B14F-4D97-AF65-F5344CB8AC3E}">
        <p14:creationId xmlns:p14="http://schemas.microsoft.com/office/powerpoint/2010/main" val="16668385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B436150-29BD-4A00-A18B-43FD63313A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814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01" imgH="502" progId="TCLayout.ActiveDocument.1">
                  <p:embed/>
                </p:oleObj>
              </mc:Choice>
              <mc:Fallback>
                <p:oleObj name="think-cell Folie" r:id="rId3" imgW="501" imgH="502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B436150-29BD-4A00-A18B-43FD63313A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1CC7415-5AA0-4925-A348-A1502C64448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M KORNA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18136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0C37BD4-7200-4CD1-BE8D-41A8A32AEC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6736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01" imgH="502" progId="TCLayout.ActiveDocument.1">
                  <p:embed/>
                </p:oleObj>
              </mc:Choice>
              <mc:Fallback>
                <p:oleObj name="think-cell Folie" r:id="rId3" imgW="501" imgH="502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0C37BD4-7200-4CD1-BE8D-41A8A32AEC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89E25BB-ECC5-4C5D-91BC-21A96E3F66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INHALT</a:t>
            </a:r>
          </a:p>
        </p:txBody>
      </p:sp>
    </p:spTree>
    <p:extLst>
      <p:ext uri="{BB962C8B-B14F-4D97-AF65-F5344CB8AC3E}">
        <p14:creationId xmlns:p14="http://schemas.microsoft.com/office/powerpoint/2010/main" val="26447352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2A64AE-467B-4BC8-8724-83223A95E5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3632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01" imgH="502" progId="TCLayout.ActiveDocument.1">
                  <p:embed/>
                </p:oleObj>
              </mc:Choice>
              <mc:Fallback>
                <p:oleObj name="think-cell Folie" r:id="rId3" imgW="501" imgH="502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2A64AE-467B-4BC8-8724-83223A95E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DF28731-6F40-47D4-ACF8-43352FF159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CLAIM</a:t>
            </a:r>
          </a:p>
        </p:txBody>
      </p:sp>
    </p:spTree>
    <p:extLst>
      <p:ext uri="{BB962C8B-B14F-4D97-AF65-F5344CB8AC3E}">
        <p14:creationId xmlns:p14="http://schemas.microsoft.com/office/powerpoint/2010/main" val="29484016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971CAF8-3089-413C-80C5-FF35D7904B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7215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01" imgH="502" progId="TCLayout.ActiveDocument.1">
                  <p:embed/>
                </p:oleObj>
              </mc:Choice>
              <mc:Fallback>
                <p:oleObj name="think-cell Folie" r:id="rId3" imgW="501" imgH="502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971CAF8-3089-413C-80C5-FF35D7904B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7BDD6CE-C61B-4D18-8632-15F9805BC0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DIE IDENTITÄTSFARBEN</a:t>
            </a:r>
            <a:endParaRPr lang="de-DE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9E0DCF5-1DC5-4B68-B708-ACCA61A3BEDA}"/>
              </a:ext>
            </a:extLst>
          </p:cNvPr>
          <p:cNvGrpSpPr/>
          <p:nvPr/>
        </p:nvGrpSpPr>
        <p:grpSpPr>
          <a:xfrm>
            <a:off x="707109" y="2169000"/>
            <a:ext cx="1633782" cy="2860438"/>
            <a:chOff x="248752" y="2169000"/>
            <a:chExt cx="1633782" cy="2860438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0AFD19FA-2E79-4CCD-9BD6-30EFD586552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4048" y="2169000"/>
              <a:ext cx="1260000" cy="1260000"/>
            </a:xfrm>
            <a:prstGeom prst="rect">
              <a:avLst/>
            </a:prstGeom>
            <a:solidFill>
              <a:srgbClr val="0C327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D0F5197F-E8A9-4B27-B77D-B05636C8B6CF}"/>
                </a:ext>
              </a:extLst>
            </p:cNvPr>
            <p:cNvSpPr txBox="1"/>
            <p:nvPr/>
          </p:nvSpPr>
          <p:spPr>
            <a:xfrm>
              <a:off x="248752" y="3429000"/>
              <a:ext cx="1633782" cy="16004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b="1" u="sng" dirty="0">
                  <a:latin typeface="Arial" panose="020B0604020202020204" pitchFamily="34" charset="0"/>
                  <a:cs typeface="Arial" panose="020B0604020202020204" pitchFamily="34" charset="0"/>
                </a:rPr>
                <a:t>Farbe:</a:t>
              </a:r>
              <a:r>
                <a:rPr lang="de-DE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e-DE" sz="1400" dirty="0">
                  <a:latin typeface="Arial" panose="020B0604020202020204" pitchFamily="34" charset="0"/>
                  <a:cs typeface="Arial" panose="020B0604020202020204" pitchFamily="34" charset="0"/>
                </a:rPr>
                <a:t>Fisch Blau</a:t>
              </a:r>
              <a:endParaRPr lang="de-DE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endParaRPr lang="de-DE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de-DE" sz="14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  <a:r>
                <a:rPr lang="de-DE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: 12</a:t>
              </a:r>
            </a:p>
            <a:p>
              <a:r>
                <a:rPr lang="de-DE" sz="1400" b="1" dirty="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</a:t>
              </a:r>
              <a:r>
                <a:rPr lang="de-DE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: 50</a:t>
              </a:r>
            </a:p>
            <a:p>
              <a:r>
                <a:rPr lang="de-DE" sz="14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</a:t>
              </a:r>
              <a:r>
                <a:rPr lang="de-DE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: 116</a:t>
              </a:r>
            </a:p>
            <a:p>
              <a:endParaRPr lang="de-DE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de-DE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Hex: </a:t>
              </a:r>
              <a:r>
                <a:rPr lang="de-DE" sz="1400" dirty="0">
                  <a:latin typeface="Arial" panose="020B0604020202020204" pitchFamily="34" charset="0"/>
                  <a:cs typeface="Arial" panose="020B0604020202020204" pitchFamily="34" charset="0"/>
                </a:rPr>
                <a:t>#0C3274</a:t>
              </a:r>
              <a:endParaRPr lang="de-DE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EE4098FF-F3F8-47CC-A2A8-1B13849AF0D5}"/>
              </a:ext>
            </a:extLst>
          </p:cNvPr>
          <p:cNvGrpSpPr/>
          <p:nvPr/>
        </p:nvGrpSpPr>
        <p:grpSpPr>
          <a:xfrm>
            <a:off x="3755109" y="2169000"/>
            <a:ext cx="1633782" cy="2860438"/>
            <a:chOff x="248752" y="2169000"/>
            <a:chExt cx="1633782" cy="2860438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C6804B43-E4CA-4D05-A2A3-0BA98FC28F3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4048" y="2169000"/>
              <a:ext cx="1260000" cy="1260000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80D0053F-DEBD-44AA-831F-A9A6AC4B4A34}"/>
                </a:ext>
              </a:extLst>
            </p:cNvPr>
            <p:cNvSpPr txBox="1"/>
            <p:nvPr/>
          </p:nvSpPr>
          <p:spPr>
            <a:xfrm>
              <a:off x="248752" y="3429000"/>
              <a:ext cx="1633782" cy="16004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b="1" u="sng" dirty="0">
                  <a:latin typeface="Arial" panose="020B0604020202020204" pitchFamily="34" charset="0"/>
                  <a:cs typeface="Arial" panose="020B0604020202020204" pitchFamily="34" charset="0"/>
                </a:rPr>
                <a:t>Farbe:</a:t>
              </a:r>
              <a:r>
                <a:rPr lang="de-DE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e-DE" sz="1400" dirty="0">
                  <a:latin typeface="Arial" panose="020B0604020202020204" pitchFamily="34" charset="0"/>
                  <a:cs typeface="Arial" panose="020B0604020202020204" pitchFamily="34" charset="0"/>
                </a:rPr>
                <a:t>Fisch weiß</a:t>
              </a:r>
              <a:endParaRPr lang="de-DE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endParaRPr lang="de-DE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de-DE" sz="14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  <a:r>
                <a:rPr lang="de-DE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: 255</a:t>
              </a:r>
            </a:p>
            <a:p>
              <a:r>
                <a:rPr lang="de-DE" sz="1400" b="1" dirty="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</a:t>
              </a:r>
              <a:r>
                <a:rPr lang="de-DE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: 255</a:t>
              </a:r>
            </a:p>
            <a:p>
              <a:r>
                <a:rPr lang="de-DE" sz="14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</a:t>
              </a:r>
              <a:r>
                <a:rPr lang="de-DE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: 255</a:t>
              </a:r>
            </a:p>
            <a:p>
              <a:endParaRPr lang="de-DE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de-DE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Hex: </a:t>
              </a:r>
              <a:r>
                <a:rPr lang="de-DE" sz="1400" dirty="0">
                  <a:latin typeface="Arial" panose="020B0604020202020204" pitchFamily="34" charset="0"/>
                  <a:cs typeface="Arial" panose="020B0604020202020204" pitchFamily="34" charset="0"/>
                </a:rPr>
                <a:t>#FFFFFF</a:t>
              </a:r>
              <a:endParaRPr lang="de-DE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6B31ED9C-2CB7-4B9A-812D-E570383898EB}"/>
              </a:ext>
            </a:extLst>
          </p:cNvPr>
          <p:cNvGrpSpPr/>
          <p:nvPr/>
        </p:nvGrpSpPr>
        <p:grpSpPr>
          <a:xfrm>
            <a:off x="6803109" y="2169000"/>
            <a:ext cx="1633782" cy="2860438"/>
            <a:chOff x="248752" y="2169000"/>
            <a:chExt cx="1633782" cy="2860438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36AB1ADE-6DD9-4916-A6BE-53B38898A11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4048" y="2169000"/>
              <a:ext cx="1260000" cy="1260000"/>
            </a:xfrm>
            <a:prstGeom prst="rect">
              <a:avLst/>
            </a:prstGeom>
            <a:solidFill>
              <a:srgbClr val="FADA7B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996351FE-F1A3-468A-B303-D1EACCD99B83}"/>
                </a:ext>
              </a:extLst>
            </p:cNvPr>
            <p:cNvSpPr txBox="1"/>
            <p:nvPr/>
          </p:nvSpPr>
          <p:spPr>
            <a:xfrm>
              <a:off x="248752" y="3429000"/>
              <a:ext cx="1633782" cy="16004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b="1" u="sng" dirty="0">
                  <a:latin typeface="Arial" panose="020B0604020202020204" pitchFamily="34" charset="0"/>
                  <a:cs typeface="Arial" panose="020B0604020202020204" pitchFamily="34" charset="0"/>
                </a:rPr>
                <a:t>Farbe:</a:t>
              </a:r>
              <a:r>
                <a:rPr lang="de-DE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e-DE" sz="1400" dirty="0">
                  <a:latin typeface="Arial" panose="020B0604020202020204" pitchFamily="34" charset="0"/>
                  <a:cs typeface="Arial" panose="020B0604020202020204" pitchFamily="34" charset="0"/>
                </a:rPr>
                <a:t>Creme</a:t>
              </a:r>
            </a:p>
            <a:p>
              <a:endParaRPr lang="de-DE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de-DE" sz="14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  <a:r>
                <a:rPr lang="de-DE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: 250</a:t>
              </a:r>
            </a:p>
            <a:p>
              <a:r>
                <a:rPr lang="de-DE" sz="1400" b="1" dirty="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</a:t>
              </a:r>
              <a:r>
                <a:rPr lang="de-DE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: 218</a:t>
              </a:r>
            </a:p>
            <a:p>
              <a:r>
                <a:rPr lang="de-DE" sz="14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</a:t>
              </a:r>
              <a:r>
                <a:rPr lang="de-DE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: 123</a:t>
              </a:r>
            </a:p>
            <a:p>
              <a:endParaRPr lang="de-DE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de-DE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Hex: </a:t>
              </a:r>
              <a:r>
                <a:rPr lang="de-DE" sz="1400" dirty="0">
                  <a:latin typeface="Arial" panose="020B0604020202020204" pitchFamily="34" charset="0"/>
                  <a:cs typeface="Arial" panose="020B0604020202020204" pitchFamily="34" charset="0"/>
                </a:rPr>
                <a:t>#FADA7B</a:t>
              </a:r>
              <a:endParaRPr lang="de-DE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9851B834-7774-42B2-9F14-93B2565F2EAF}"/>
              </a:ext>
            </a:extLst>
          </p:cNvPr>
          <p:cNvGrpSpPr/>
          <p:nvPr/>
        </p:nvGrpSpPr>
        <p:grpSpPr>
          <a:xfrm>
            <a:off x="9851109" y="2169000"/>
            <a:ext cx="1633782" cy="2860438"/>
            <a:chOff x="248752" y="2169000"/>
            <a:chExt cx="1633782" cy="2860438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FCFE43F1-C79E-4664-BBA0-A77CA66D31D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4048" y="2169000"/>
              <a:ext cx="1260000" cy="1260000"/>
            </a:xfrm>
            <a:prstGeom prst="rect">
              <a:avLst/>
            </a:prstGeom>
            <a:solidFill>
              <a:srgbClr val="896B1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5FBA22AF-AC46-4586-A5F2-7CD7688F467C}"/>
                </a:ext>
              </a:extLst>
            </p:cNvPr>
            <p:cNvSpPr txBox="1"/>
            <p:nvPr/>
          </p:nvSpPr>
          <p:spPr>
            <a:xfrm>
              <a:off x="248752" y="3429000"/>
              <a:ext cx="1633782" cy="16004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b="1" u="sng" dirty="0">
                  <a:latin typeface="Arial" panose="020B0604020202020204" pitchFamily="34" charset="0"/>
                  <a:cs typeface="Arial" panose="020B0604020202020204" pitchFamily="34" charset="0"/>
                </a:rPr>
                <a:t>Farbe:</a:t>
              </a:r>
              <a:r>
                <a:rPr lang="de-DE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e-DE" sz="1400" dirty="0">
                  <a:latin typeface="Arial" panose="020B0604020202020204" pitchFamily="34" charset="0"/>
                  <a:cs typeface="Arial" panose="020B0604020202020204" pitchFamily="34" charset="0"/>
                </a:rPr>
                <a:t>Creme </a:t>
              </a:r>
              <a:r>
                <a:rPr lang="de-DE" sz="1400" dirty="0" err="1">
                  <a:latin typeface="Arial" panose="020B0604020202020204" pitchFamily="34" charset="0"/>
                  <a:cs typeface="Arial" panose="020B0604020202020204" pitchFamily="34" charset="0"/>
                </a:rPr>
                <a:t>drk</a:t>
              </a:r>
              <a:endParaRPr lang="de-DE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endParaRPr lang="de-DE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de-DE" sz="14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  <a:r>
                <a:rPr lang="de-DE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: 137</a:t>
              </a:r>
            </a:p>
            <a:p>
              <a:r>
                <a:rPr lang="de-DE" sz="1400" b="1" dirty="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</a:t>
              </a:r>
              <a:r>
                <a:rPr lang="de-DE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: 107</a:t>
              </a:r>
            </a:p>
            <a:p>
              <a:r>
                <a:rPr lang="de-DE" sz="14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</a:t>
              </a:r>
              <a:r>
                <a:rPr lang="de-DE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: 16</a:t>
              </a:r>
            </a:p>
            <a:p>
              <a:endParaRPr lang="de-DE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de-DE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Hex: </a:t>
              </a:r>
              <a:r>
                <a:rPr lang="de-DE" sz="1400" dirty="0">
                  <a:latin typeface="Arial" panose="020B0604020202020204" pitchFamily="34" charset="0"/>
                  <a:cs typeface="Arial" panose="020B0604020202020204" pitchFamily="34" charset="0"/>
                </a:rPr>
                <a:t>#896B10</a:t>
              </a:r>
              <a:endParaRPr lang="de-DE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50163AC0-ACED-414C-8DE3-4F814D90D3F2}"/>
              </a:ext>
            </a:extLst>
          </p:cNvPr>
          <p:cNvCxnSpPr/>
          <p:nvPr/>
        </p:nvCxnSpPr>
        <p:spPr>
          <a:xfrm>
            <a:off x="3048000" y="1983971"/>
            <a:ext cx="0" cy="3153294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45FFBA23-1CEC-45F8-9CB4-D6CDAFA3D3B5}"/>
              </a:ext>
            </a:extLst>
          </p:cNvPr>
          <p:cNvCxnSpPr/>
          <p:nvPr/>
        </p:nvCxnSpPr>
        <p:spPr>
          <a:xfrm>
            <a:off x="6096000" y="1983971"/>
            <a:ext cx="0" cy="3153294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17D2D07D-78CA-4883-80E3-A0C669A425EC}"/>
              </a:ext>
            </a:extLst>
          </p:cNvPr>
          <p:cNvCxnSpPr/>
          <p:nvPr/>
        </p:nvCxnSpPr>
        <p:spPr>
          <a:xfrm>
            <a:off x="9144000" y="1983971"/>
            <a:ext cx="0" cy="3153294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74218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nutzerdefiniertes Design">
  <a:themeElements>
    <a:clrScheme name="CD Korna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C3274"/>
      </a:accent1>
      <a:accent2>
        <a:srgbClr val="FFFFFF"/>
      </a:accent2>
      <a:accent3>
        <a:srgbClr val="FADA7B"/>
      </a:accent3>
      <a:accent4>
        <a:srgbClr val="896B10"/>
      </a:accent4>
      <a:accent5>
        <a:srgbClr val="FF0000"/>
      </a:accent5>
      <a:accent6>
        <a:srgbClr val="FF0000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5</Words>
  <Application>Microsoft Office PowerPoint</Application>
  <PresentationFormat>Breitbild</PresentationFormat>
  <Paragraphs>38</Paragraphs>
  <Slides>5</Slides>
  <Notes>0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0" baseType="lpstr">
      <vt:lpstr>Arial</vt:lpstr>
      <vt:lpstr>Calibri</vt:lpstr>
      <vt:lpstr>Calibri Light</vt:lpstr>
      <vt:lpstr>Benutzerdefiniertes Design</vt:lpstr>
      <vt:lpstr>think-cell Folie</vt:lpstr>
      <vt:lpstr>DESIGN REGELN</vt:lpstr>
      <vt:lpstr>CDM KORNAS</vt:lpstr>
      <vt:lpstr>INHALT</vt:lpstr>
      <vt:lpstr>CLAIM</vt:lpstr>
      <vt:lpstr>DIE IDENTITÄTSFARB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ascal Kowolik</dc:creator>
  <cp:lastModifiedBy>Pascal Kowolik</cp:lastModifiedBy>
  <cp:revision>1</cp:revision>
  <dcterms:created xsi:type="dcterms:W3CDTF">2021-09-21T22:30:20Z</dcterms:created>
  <dcterms:modified xsi:type="dcterms:W3CDTF">2021-10-27T00:37:42Z</dcterms:modified>
</cp:coreProperties>
</file>